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10.xml" ContentType="application/vnd.openxmlformats-officedocument.theme+xml"/>
  <Override PartName="/ppt/slideLayouts/slideLayout6.xml" ContentType="application/vnd.openxmlformats-officedocument.presentationml.slideLayout+xml"/>
  <Override PartName="/ppt/theme/theme11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12.xml" ContentType="application/vnd.openxmlformats-officedocument.theme+xml"/>
  <Override PartName="/ppt/slideLayouts/slideLayout9.xml" ContentType="application/vnd.openxmlformats-officedocument.presentationml.slideLayout+xml"/>
  <Override PartName="/ppt/theme/theme1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84" r:id="rId1"/>
    <p:sldMasterId id="2147484037" r:id="rId2"/>
    <p:sldMasterId id="2147484046" r:id="rId3"/>
    <p:sldMasterId id="2147484134" r:id="rId4"/>
    <p:sldMasterId id="2147484334" r:id="rId5"/>
    <p:sldMasterId id="2147484412" r:id="rId6"/>
    <p:sldMasterId id="2147484511" r:id="rId7"/>
    <p:sldMasterId id="2147484537" r:id="rId8"/>
    <p:sldMasterId id="2147484556" r:id="rId9"/>
    <p:sldMasterId id="2147484557" r:id="rId10"/>
    <p:sldMasterId id="2147484561" r:id="rId11"/>
    <p:sldMasterId id="2147484563" r:id="rId12"/>
    <p:sldMasterId id="2147484567" r:id="rId13"/>
    <p:sldMasterId id="2147484571" r:id="rId14"/>
  </p:sldMasterIdLst>
  <p:notesMasterIdLst>
    <p:notesMasterId r:id="rId50"/>
  </p:notesMasterIdLst>
  <p:handoutMasterIdLst>
    <p:handoutMasterId r:id="rId51"/>
  </p:handoutMasterIdLst>
  <p:sldIdLst>
    <p:sldId id="806" r:id="rId15"/>
    <p:sldId id="1097" r:id="rId16"/>
    <p:sldId id="1077" r:id="rId17"/>
    <p:sldId id="1080" r:id="rId18"/>
    <p:sldId id="1115" r:id="rId19"/>
    <p:sldId id="1119" r:id="rId20"/>
    <p:sldId id="1112" r:id="rId21"/>
    <p:sldId id="1120" r:id="rId22"/>
    <p:sldId id="1121" r:id="rId23"/>
    <p:sldId id="1113" r:id="rId24"/>
    <p:sldId id="1122" r:id="rId25"/>
    <p:sldId id="1123" r:id="rId26"/>
    <p:sldId id="1125" r:id="rId27"/>
    <p:sldId id="1126" r:id="rId28"/>
    <p:sldId id="1116" r:id="rId29"/>
    <p:sldId id="1114" r:id="rId30"/>
    <p:sldId id="1117" r:id="rId31"/>
    <p:sldId id="1124" r:id="rId32"/>
    <p:sldId id="1118" r:id="rId33"/>
    <p:sldId id="1127" r:id="rId34"/>
    <p:sldId id="1128" r:id="rId35"/>
    <p:sldId id="1129" r:id="rId36"/>
    <p:sldId id="1130" r:id="rId37"/>
    <p:sldId id="1134" r:id="rId38"/>
    <p:sldId id="1132" r:id="rId39"/>
    <p:sldId id="1133" r:id="rId40"/>
    <p:sldId id="1081" r:id="rId41"/>
    <p:sldId id="1086" r:id="rId42"/>
    <p:sldId id="1089" r:id="rId43"/>
    <p:sldId id="1087" r:id="rId44"/>
    <p:sldId id="1088" r:id="rId45"/>
    <p:sldId id="1091" r:id="rId46"/>
    <p:sldId id="1090" r:id="rId47"/>
    <p:sldId id="1108" r:id="rId48"/>
    <p:sldId id="1096" r:id="rId49"/>
  </p:sldIdLst>
  <p:sldSz cx="12188825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tai Maoz" initials="IM" lastIdx="12" clrIdx="0">
    <p:extLst>
      <p:ext uri="{19B8F6BF-5375-455C-9EA6-DF929625EA0E}">
        <p15:presenceInfo xmlns:p15="http://schemas.microsoft.com/office/powerpoint/2012/main" userId="S-1-5-21-143744227-174999600-642189945-696426" providerId="AD"/>
      </p:ext>
    </p:extLst>
  </p:cmAuthor>
  <p:cmAuthor id="2" name="Roman Richtar" initials="RR" lastIdx="1" clrIdx="1">
    <p:extLst>
      <p:ext uri="{19B8F6BF-5375-455C-9EA6-DF929625EA0E}">
        <p15:presenceInfo xmlns:p15="http://schemas.microsoft.com/office/powerpoint/2012/main" userId="S-1-5-21-143744227-174999600-642189945-5821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FFFFFF"/>
    <a:srgbClr val="302E45"/>
    <a:srgbClr val="336393"/>
    <a:srgbClr val="4463AD"/>
    <a:srgbClr val="E9AE72"/>
    <a:srgbClr val="F352AB"/>
    <a:srgbClr val="FAA439"/>
    <a:srgbClr val="F2F2F2"/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62" autoAdjust="0"/>
    <p:restoredTop sz="94994" autoAdjust="0"/>
  </p:normalViewPr>
  <p:slideViewPr>
    <p:cSldViewPr snapToGrid="0" showGuides="1">
      <p:cViewPr varScale="1">
        <p:scale>
          <a:sx n="64" d="100"/>
          <a:sy n="64" d="100"/>
        </p:scale>
        <p:origin x="692" y="40"/>
      </p:cViewPr>
      <p:guideLst>
        <p:guide orient="horz" pos="2160"/>
        <p:guide pos="3838"/>
      </p:guideLst>
    </p:cSldViewPr>
  </p:slideViewPr>
  <p:outlineViewPr>
    <p:cViewPr>
      <p:scale>
        <a:sx n="100" d="100"/>
        <a:sy n="100" d="100"/>
      </p:scale>
      <p:origin x="0" y="-283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slide" Target="slides/slide27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A0AC28-FFB2-4D4C-BE03-53ACE32C2AA6}" type="datetimeFigureOut">
              <a:rPr lang="en-US" smtClean="0"/>
              <a:t>03-Jul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02F85F-E92D-4AB1-A993-5BF619DC8E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949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8A1E3-577B-4491-B617-9908AB49E41D}" type="datetimeFigureOut">
              <a:rPr lang="en-GB" smtClean="0"/>
              <a:pPr/>
              <a:t>03/07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D66E9A-5678-4100-AC94-08F508DFE4F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82103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8558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382844-C493-4E5C-84EB-6E0488489CF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2728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PM Package Manager (RPM) (originally Red Hat Package Manager;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18B3BE-587F-40A8-99EC-1E15D4E0E4F6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4960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PM Package Manager (RPM) (originally Red Hat Package Manager;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18B3BE-587F-40A8-99EC-1E15D4E0E4F6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406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66E9A-5678-4100-AC94-08F508DFE4FA}" type="slidenum">
              <a:rPr lang="en-GB" smtClean="0">
                <a:solidFill>
                  <a:prstClr val="black"/>
                </a:solidFill>
              </a:rPr>
              <a:pPr/>
              <a:t>2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065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66E9A-5678-4100-AC94-08F508DFE4FA}" type="slidenum">
              <a:rPr lang="en-GB" smtClean="0">
                <a:solidFill>
                  <a:prstClr val="black"/>
                </a:solidFill>
              </a:rPr>
              <a:pPr/>
              <a:t>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776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66E9A-5678-4100-AC94-08F508DFE4FA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01862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66E9A-5678-4100-AC94-08F508DFE4FA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5301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66E9A-5678-4100-AC94-08F508DFE4FA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09802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382844-C493-4E5C-84EB-6E0488489CF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3067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b="0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66E9A-5678-4100-AC94-08F508DFE4FA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02982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b="0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66E9A-5678-4100-AC94-08F508DFE4FA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27242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b="0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66E9A-5678-4100-AC94-08F508DFE4FA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6693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497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1518108"/>
          </a:xfrm>
        </p:spPr>
        <p:txBody>
          <a:bodyPr>
            <a:spAutoFit/>
          </a:bodyPr>
          <a:lstStyle>
            <a:lvl1pPr>
              <a:defRPr sz="1999"/>
            </a:lvl1pPr>
            <a:lvl2pPr>
              <a:defRPr sz="1799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3392434" y="3392434"/>
            <a:ext cx="6858000" cy="73133"/>
          </a:xfrm>
          <a:prstGeom prst="rect">
            <a:avLst/>
          </a:prstGeom>
          <a:gradFill flip="none" rotWithShape="1">
            <a:gsLst>
              <a:gs pos="0">
                <a:srgbClr val="FDB515"/>
              </a:gs>
              <a:gs pos="100000">
                <a:srgbClr val="EC008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 err="1">
              <a:solidFill>
                <a:prstClr val="white"/>
              </a:solidFill>
            </a:endParaRPr>
          </a:p>
        </p:txBody>
      </p:sp>
      <p:sp>
        <p:nvSpPr>
          <p:cNvPr id="12" name="Freeform: Shape 44"/>
          <p:cNvSpPr>
            <a:spLocks/>
          </p:cNvSpPr>
          <p:nvPr userDrawn="1"/>
        </p:nvSpPr>
        <p:spPr bwMode="auto">
          <a:xfrm flipH="1">
            <a:off x="546379" y="1186668"/>
            <a:ext cx="639913" cy="73152"/>
          </a:xfrm>
          <a:custGeom>
            <a:avLst/>
            <a:gdLst>
              <a:gd name="connsiteX0" fmla="*/ 833364 w 866779"/>
              <a:gd name="connsiteY0" fmla="*/ 91133 h 91133"/>
              <a:gd name="connsiteX1" fmla="*/ 0 w 866779"/>
              <a:gd name="connsiteY1" fmla="*/ 91133 h 91133"/>
              <a:gd name="connsiteX2" fmla="*/ 742 w 866779"/>
              <a:gd name="connsiteY2" fmla="*/ 89110 h 91133"/>
              <a:gd name="connsiteX3" fmla="*/ 0 w 866779"/>
              <a:gd name="connsiteY3" fmla="*/ 89108 h 91133"/>
              <a:gd name="connsiteX4" fmla="*/ 33416 w 866779"/>
              <a:gd name="connsiteY4" fmla="*/ 0 h 91133"/>
              <a:gd name="connsiteX5" fmla="*/ 866779 w 866779"/>
              <a:gd name="connsiteY5" fmla="*/ 0 h 91133"/>
              <a:gd name="connsiteX6" fmla="*/ 866037 w 866779"/>
              <a:gd name="connsiteY6" fmla="*/ 2024 h 91133"/>
              <a:gd name="connsiteX7" fmla="*/ 866779 w 866779"/>
              <a:gd name="connsiteY7" fmla="*/ 2025 h 9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6779" h="91133">
                <a:moveTo>
                  <a:pt x="833364" y="91133"/>
                </a:moveTo>
                <a:lnTo>
                  <a:pt x="0" y="91133"/>
                </a:lnTo>
                <a:lnTo>
                  <a:pt x="742" y="89110"/>
                </a:lnTo>
                <a:lnTo>
                  <a:pt x="0" y="89108"/>
                </a:lnTo>
                <a:lnTo>
                  <a:pt x="33416" y="0"/>
                </a:lnTo>
                <a:lnTo>
                  <a:pt x="866779" y="0"/>
                </a:lnTo>
                <a:lnTo>
                  <a:pt x="866037" y="2024"/>
                </a:lnTo>
                <a:lnTo>
                  <a:pt x="866779" y="202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1502" y="6382383"/>
            <a:ext cx="39291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96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-3392434" y="3392434"/>
            <a:ext cx="6858000" cy="73133"/>
          </a:xfrm>
          <a:prstGeom prst="rect">
            <a:avLst/>
          </a:prstGeom>
          <a:gradFill flip="none" rotWithShape="1">
            <a:gsLst>
              <a:gs pos="0">
                <a:srgbClr val="FDB515"/>
              </a:gs>
              <a:gs pos="100000">
                <a:srgbClr val="EC008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 err="1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1502" y="6382383"/>
            <a:ext cx="39291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06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1518108"/>
          </a:xfrm>
        </p:spPr>
        <p:txBody>
          <a:bodyPr>
            <a:spAutoFit/>
          </a:bodyPr>
          <a:lstStyle>
            <a:lvl1pPr>
              <a:defRPr sz="1999"/>
            </a:lvl1pPr>
            <a:lvl2pPr>
              <a:defRPr sz="1799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3392434" y="3392434"/>
            <a:ext cx="6858000" cy="73133"/>
          </a:xfrm>
          <a:prstGeom prst="rect">
            <a:avLst/>
          </a:prstGeom>
          <a:gradFill flip="none" rotWithShape="1">
            <a:gsLst>
              <a:gs pos="0">
                <a:srgbClr val="FDB515"/>
              </a:gs>
              <a:gs pos="100000">
                <a:srgbClr val="EC008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12" name="Freeform: Shape 44"/>
          <p:cNvSpPr>
            <a:spLocks/>
          </p:cNvSpPr>
          <p:nvPr userDrawn="1"/>
        </p:nvSpPr>
        <p:spPr bwMode="auto">
          <a:xfrm flipH="1">
            <a:off x="546379" y="1186668"/>
            <a:ext cx="639913" cy="73152"/>
          </a:xfrm>
          <a:custGeom>
            <a:avLst/>
            <a:gdLst>
              <a:gd name="connsiteX0" fmla="*/ 833364 w 866779"/>
              <a:gd name="connsiteY0" fmla="*/ 91133 h 91133"/>
              <a:gd name="connsiteX1" fmla="*/ 0 w 866779"/>
              <a:gd name="connsiteY1" fmla="*/ 91133 h 91133"/>
              <a:gd name="connsiteX2" fmla="*/ 742 w 866779"/>
              <a:gd name="connsiteY2" fmla="*/ 89110 h 91133"/>
              <a:gd name="connsiteX3" fmla="*/ 0 w 866779"/>
              <a:gd name="connsiteY3" fmla="*/ 89108 h 91133"/>
              <a:gd name="connsiteX4" fmla="*/ 33416 w 866779"/>
              <a:gd name="connsiteY4" fmla="*/ 0 h 91133"/>
              <a:gd name="connsiteX5" fmla="*/ 866779 w 866779"/>
              <a:gd name="connsiteY5" fmla="*/ 0 h 91133"/>
              <a:gd name="connsiteX6" fmla="*/ 866037 w 866779"/>
              <a:gd name="connsiteY6" fmla="*/ 2024 h 91133"/>
              <a:gd name="connsiteX7" fmla="*/ 866779 w 866779"/>
              <a:gd name="connsiteY7" fmla="*/ 2025 h 9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6779" h="91133">
                <a:moveTo>
                  <a:pt x="833364" y="91133"/>
                </a:moveTo>
                <a:lnTo>
                  <a:pt x="0" y="91133"/>
                </a:lnTo>
                <a:lnTo>
                  <a:pt x="742" y="89110"/>
                </a:lnTo>
                <a:lnTo>
                  <a:pt x="0" y="89108"/>
                </a:lnTo>
                <a:lnTo>
                  <a:pt x="33416" y="0"/>
                </a:lnTo>
                <a:lnTo>
                  <a:pt x="866779" y="0"/>
                </a:lnTo>
                <a:lnTo>
                  <a:pt x="866037" y="2024"/>
                </a:lnTo>
                <a:lnTo>
                  <a:pt x="866779" y="2025"/>
                </a:lnTo>
                <a:close/>
              </a:path>
            </a:pathLst>
          </a:custGeom>
          <a:gradFill flip="none" rotWithShape="1">
            <a:gsLst>
              <a:gs pos="100000">
                <a:srgbClr val="FDB515"/>
              </a:gs>
              <a:gs pos="0">
                <a:srgbClr val="EC008C"/>
              </a:gs>
            </a:gsLst>
            <a:lin ang="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05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12" name="Freeform 5"/>
          <p:cNvSpPr>
            <a:spLocks/>
          </p:cNvSpPr>
          <p:nvPr userDrawn="1"/>
        </p:nvSpPr>
        <p:spPr bwMode="auto">
          <a:xfrm>
            <a:off x="3188458" y="-237547377"/>
            <a:ext cx="5811911" cy="142875"/>
          </a:xfrm>
          <a:custGeom>
            <a:avLst/>
            <a:gdLst>
              <a:gd name="T0" fmla="*/ 3662 w 3662"/>
              <a:gd name="T1" fmla="*/ 0 h 90"/>
              <a:gd name="T2" fmla="*/ 33 w 3662"/>
              <a:gd name="T3" fmla="*/ 0 h 90"/>
              <a:gd name="T4" fmla="*/ 0 w 3662"/>
              <a:gd name="T5" fmla="*/ 90 h 90"/>
              <a:gd name="T6" fmla="*/ 3629 w 3662"/>
              <a:gd name="T7" fmla="*/ 90 h 90"/>
              <a:gd name="T8" fmla="*/ 3662 w 3662"/>
              <a:gd name="T9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62" h="90">
                <a:moveTo>
                  <a:pt x="3662" y="0"/>
                </a:moveTo>
                <a:lnTo>
                  <a:pt x="33" y="0"/>
                </a:lnTo>
                <a:lnTo>
                  <a:pt x="0" y="90"/>
                </a:lnTo>
                <a:lnTo>
                  <a:pt x="3629" y="90"/>
                </a:lnTo>
                <a:lnTo>
                  <a:pt x="3662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/>
            <a:endParaRPr lang="en-US" sz="1799">
              <a:solidFill>
                <a:srgbClr val="000000"/>
              </a:solidFill>
            </a:endParaRPr>
          </a:p>
        </p:txBody>
      </p:sp>
      <p:sp>
        <p:nvSpPr>
          <p:cNvPr id="16" name="Freeform 9"/>
          <p:cNvSpPr>
            <a:spLocks/>
          </p:cNvSpPr>
          <p:nvPr userDrawn="1"/>
        </p:nvSpPr>
        <p:spPr bwMode="auto">
          <a:xfrm>
            <a:off x="3188458" y="-233717354"/>
            <a:ext cx="5811911" cy="142876"/>
          </a:xfrm>
          <a:custGeom>
            <a:avLst/>
            <a:gdLst>
              <a:gd name="T0" fmla="*/ 3662 w 3662"/>
              <a:gd name="T1" fmla="*/ 0 h 90"/>
              <a:gd name="T2" fmla="*/ 33 w 3662"/>
              <a:gd name="T3" fmla="*/ 0 h 90"/>
              <a:gd name="T4" fmla="*/ 0 w 3662"/>
              <a:gd name="T5" fmla="*/ 90 h 90"/>
              <a:gd name="T6" fmla="*/ 3629 w 3662"/>
              <a:gd name="T7" fmla="*/ 90 h 90"/>
              <a:gd name="T8" fmla="*/ 3662 w 3662"/>
              <a:gd name="T9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62" h="90">
                <a:moveTo>
                  <a:pt x="3662" y="0"/>
                </a:moveTo>
                <a:lnTo>
                  <a:pt x="33" y="0"/>
                </a:lnTo>
                <a:lnTo>
                  <a:pt x="0" y="90"/>
                </a:lnTo>
                <a:lnTo>
                  <a:pt x="3629" y="90"/>
                </a:lnTo>
                <a:lnTo>
                  <a:pt x="366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/>
            <a:endParaRPr lang="en-US" sz="1799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4729651" y="3075057"/>
            <a:ext cx="2729524" cy="70788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914126">
              <a:defRPr/>
            </a:pPr>
            <a:r>
              <a:rPr lang="en-US" sz="3999" b="1" dirty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5" name="Freeform: Shape 9"/>
          <p:cNvSpPr>
            <a:spLocks/>
          </p:cNvSpPr>
          <p:nvPr userDrawn="1"/>
        </p:nvSpPr>
        <p:spPr bwMode="auto">
          <a:xfrm flipH="1">
            <a:off x="4768878" y="3012450"/>
            <a:ext cx="2651069" cy="73152"/>
          </a:xfrm>
          <a:custGeom>
            <a:avLst/>
            <a:gdLst>
              <a:gd name="connsiteX0" fmla="*/ 2714641 w 2825755"/>
              <a:gd name="connsiteY0" fmla="*/ 91440 h 91440"/>
              <a:gd name="connsiteX1" fmla="*/ 64310 w 2825755"/>
              <a:gd name="connsiteY1" fmla="*/ 91440 h 91440"/>
              <a:gd name="connsiteX2" fmla="*/ 64310 w 2825755"/>
              <a:gd name="connsiteY2" fmla="*/ 91133 h 91440"/>
              <a:gd name="connsiteX3" fmla="*/ 0 w 2825755"/>
              <a:gd name="connsiteY3" fmla="*/ 91133 h 91440"/>
              <a:gd name="connsiteX4" fmla="*/ 33415 w 2825755"/>
              <a:gd name="connsiteY4" fmla="*/ 0 h 91440"/>
              <a:gd name="connsiteX5" fmla="*/ 64310 w 2825755"/>
              <a:gd name="connsiteY5" fmla="*/ 75 h 91440"/>
              <a:gd name="connsiteX6" fmla="*/ 64310 w 2825755"/>
              <a:gd name="connsiteY6" fmla="*/ 0 h 91440"/>
              <a:gd name="connsiteX7" fmla="*/ 1992392 w 2825755"/>
              <a:gd name="connsiteY7" fmla="*/ 0 h 91440"/>
              <a:gd name="connsiteX8" fmla="*/ 2714641 w 2825755"/>
              <a:gd name="connsiteY8" fmla="*/ 0 h 91440"/>
              <a:gd name="connsiteX9" fmla="*/ 2825755 w 2825755"/>
              <a:gd name="connsiteY9" fmla="*/ 0 h 91440"/>
              <a:gd name="connsiteX10" fmla="*/ 2792340 w 2825755"/>
              <a:gd name="connsiteY10" fmla="*/ 91133 h 91440"/>
              <a:gd name="connsiteX11" fmla="*/ 2714641 w 2825755"/>
              <a:gd name="connsiteY11" fmla="*/ 90944 h 9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25755" h="91440">
                <a:moveTo>
                  <a:pt x="2714641" y="91440"/>
                </a:moveTo>
                <a:lnTo>
                  <a:pt x="64310" y="91440"/>
                </a:lnTo>
                <a:lnTo>
                  <a:pt x="64310" y="91133"/>
                </a:lnTo>
                <a:lnTo>
                  <a:pt x="0" y="91133"/>
                </a:lnTo>
                <a:lnTo>
                  <a:pt x="33415" y="0"/>
                </a:lnTo>
                <a:lnTo>
                  <a:pt x="64310" y="75"/>
                </a:lnTo>
                <a:lnTo>
                  <a:pt x="64310" y="0"/>
                </a:lnTo>
                <a:lnTo>
                  <a:pt x="1992392" y="0"/>
                </a:lnTo>
                <a:lnTo>
                  <a:pt x="2714641" y="0"/>
                </a:lnTo>
                <a:lnTo>
                  <a:pt x="2825755" y="0"/>
                </a:lnTo>
                <a:lnTo>
                  <a:pt x="2792340" y="91133"/>
                </a:lnTo>
                <a:lnTo>
                  <a:pt x="2714641" y="9094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1502" y="6382384"/>
            <a:ext cx="392910" cy="292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186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11"/>
          <a:stretch/>
        </p:blipFill>
        <p:spPr>
          <a:xfrm>
            <a:off x="0" y="-1"/>
            <a:ext cx="7446610" cy="6858001"/>
          </a:xfrm>
          <a:prstGeom prst="rect">
            <a:avLst/>
          </a:prstGeom>
        </p:spPr>
      </p:pic>
      <p:sp>
        <p:nvSpPr>
          <p:cNvPr id="18" name="Freeform 5"/>
          <p:cNvSpPr>
            <a:spLocks noEditPoints="1"/>
          </p:cNvSpPr>
          <p:nvPr userDrawn="1"/>
        </p:nvSpPr>
        <p:spPr bwMode="auto">
          <a:xfrm>
            <a:off x="0" y="0"/>
            <a:ext cx="12211045" cy="6858000"/>
          </a:xfrm>
          <a:custGeom>
            <a:avLst/>
            <a:gdLst>
              <a:gd name="T0" fmla="*/ 0 w 7694"/>
              <a:gd name="T1" fmla="*/ 4320 h 4320"/>
              <a:gd name="T2" fmla="*/ 7694 w 7694"/>
              <a:gd name="T3" fmla="*/ 4320 h 4320"/>
              <a:gd name="T4" fmla="*/ 7694 w 7694"/>
              <a:gd name="T5" fmla="*/ 0 h 4320"/>
              <a:gd name="T6" fmla="*/ 0 w 7694"/>
              <a:gd name="T7" fmla="*/ 0 h 4320"/>
              <a:gd name="T8" fmla="*/ 0 w 7694"/>
              <a:gd name="T9" fmla="*/ 354 h 4320"/>
              <a:gd name="T10" fmla="*/ 179 w 7694"/>
              <a:gd name="T11" fmla="*/ 354 h 4320"/>
              <a:gd name="T12" fmla="*/ 1238 w 7694"/>
              <a:gd name="T13" fmla="*/ 3966 h 4320"/>
              <a:gd name="T14" fmla="*/ 0 w 7694"/>
              <a:gd name="T15" fmla="*/ 3966 h 4320"/>
              <a:gd name="T16" fmla="*/ 0 w 7694"/>
              <a:gd name="T17" fmla="*/ 4320 h 4320"/>
              <a:gd name="T18" fmla="*/ 3607 w 7694"/>
              <a:gd name="T19" fmla="*/ 354 h 4320"/>
              <a:gd name="T20" fmla="*/ 4668 w 7694"/>
              <a:gd name="T21" fmla="*/ 3966 h 4320"/>
              <a:gd name="T22" fmla="*/ 4604 w 7694"/>
              <a:gd name="T23" fmla="*/ 3966 h 4320"/>
              <a:gd name="T24" fmla="*/ 3543 w 7694"/>
              <a:gd name="T25" fmla="*/ 354 h 4320"/>
              <a:gd name="T26" fmla="*/ 3607 w 7694"/>
              <a:gd name="T27" fmla="*/ 354 h 4320"/>
              <a:gd name="T28" fmla="*/ 3485 w 7694"/>
              <a:gd name="T29" fmla="*/ 354 h 4320"/>
              <a:gd name="T30" fmla="*/ 4544 w 7694"/>
              <a:gd name="T31" fmla="*/ 3966 h 4320"/>
              <a:gd name="T32" fmla="*/ 2209 w 7694"/>
              <a:gd name="T33" fmla="*/ 3966 h 4320"/>
              <a:gd name="T34" fmla="*/ 1150 w 7694"/>
              <a:gd name="T35" fmla="*/ 354 h 4320"/>
              <a:gd name="T36" fmla="*/ 3485 w 7694"/>
              <a:gd name="T37" fmla="*/ 354 h 4320"/>
              <a:gd name="T38" fmla="*/ 478 w 7694"/>
              <a:gd name="T39" fmla="*/ 354 h 4320"/>
              <a:gd name="T40" fmla="*/ 822 w 7694"/>
              <a:gd name="T41" fmla="*/ 354 h 4320"/>
              <a:gd name="T42" fmla="*/ 1882 w 7694"/>
              <a:gd name="T43" fmla="*/ 3966 h 4320"/>
              <a:gd name="T44" fmla="*/ 1537 w 7694"/>
              <a:gd name="T45" fmla="*/ 3966 h 4320"/>
              <a:gd name="T46" fmla="*/ 478 w 7694"/>
              <a:gd name="T47" fmla="*/ 354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7694" h="4320">
                <a:moveTo>
                  <a:pt x="0" y="4320"/>
                </a:moveTo>
                <a:lnTo>
                  <a:pt x="7694" y="4320"/>
                </a:lnTo>
                <a:lnTo>
                  <a:pt x="7694" y="0"/>
                </a:lnTo>
                <a:lnTo>
                  <a:pt x="0" y="0"/>
                </a:lnTo>
                <a:lnTo>
                  <a:pt x="0" y="354"/>
                </a:lnTo>
                <a:lnTo>
                  <a:pt x="179" y="354"/>
                </a:lnTo>
                <a:lnTo>
                  <a:pt x="1238" y="3966"/>
                </a:lnTo>
                <a:lnTo>
                  <a:pt x="0" y="3966"/>
                </a:lnTo>
                <a:lnTo>
                  <a:pt x="0" y="4320"/>
                </a:lnTo>
                <a:close/>
                <a:moveTo>
                  <a:pt x="3607" y="354"/>
                </a:moveTo>
                <a:lnTo>
                  <a:pt x="4668" y="3966"/>
                </a:lnTo>
                <a:lnTo>
                  <a:pt x="4604" y="3966"/>
                </a:lnTo>
                <a:lnTo>
                  <a:pt x="3543" y="354"/>
                </a:lnTo>
                <a:lnTo>
                  <a:pt x="3607" y="354"/>
                </a:lnTo>
                <a:close/>
                <a:moveTo>
                  <a:pt x="3485" y="354"/>
                </a:moveTo>
                <a:lnTo>
                  <a:pt x="4544" y="3966"/>
                </a:lnTo>
                <a:lnTo>
                  <a:pt x="2209" y="3966"/>
                </a:lnTo>
                <a:lnTo>
                  <a:pt x="1150" y="354"/>
                </a:lnTo>
                <a:lnTo>
                  <a:pt x="3485" y="354"/>
                </a:lnTo>
                <a:close/>
                <a:moveTo>
                  <a:pt x="478" y="354"/>
                </a:moveTo>
                <a:lnTo>
                  <a:pt x="822" y="354"/>
                </a:lnTo>
                <a:lnTo>
                  <a:pt x="1882" y="3966"/>
                </a:lnTo>
                <a:lnTo>
                  <a:pt x="1537" y="3966"/>
                </a:lnTo>
                <a:lnTo>
                  <a:pt x="478" y="3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/>
            <a:endParaRPr lang="en-US" sz="1799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65682" y="2003489"/>
            <a:ext cx="4374011" cy="1231106"/>
          </a:xfrm>
        </p:spPr>
        <p:txBody>
          <a:bodyPr anchor="b" anchorCtr="0"/>
          <a:lstStyle>
            <a:lvl1pPr>
              <a:defRPr sz="39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65683" y="4026610"/>
            <a:ext cx="4374010" cy="307777"/>
          </a:xfrm>
        </p:spPr>
        <p:txBody>
          <a:bodyPr wrap="square">
            <a:spAutoFit/>
          </a:bodyPr>
          <a:lstStyle>
            <a:lvl1pPr marL="0" indent="0">
              <a:buNone/>
              <a:defRPr sz="1999">
                <a:solidFill>
                  <a:schemeClr val="tx2"/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reeform 6"/>
          <p:cNvSpPr>
            <a:spLocks noEditPoints="1"/>
          </p:cNvSpPr>
          <p:nvPr userDrawn="1"/>
        </p:nvSpPr>
        <p:spPr bwMode="auto">
          <a:xfrm>
            <a:off x="1588" y="1588"/>
            <a:ext cx="12185651" cy="6858000"/>
          </a:xfrm>
          <a:custGeom>
            <a:avLst/>
            <a:gdLst>
              <a:gd name="T0" fmla="*/ 7678 w 7678"/>
              <a:gd name="T1" fmla="*/ 0 h 4320"/>
              <a:gd name="T2" fmla="*/ 0 w 7678"/>
              <a:gd name="T3" fmla="*/ 0 h 4320"/>
              <a:gd name="T4" fmla="*/ 0 w 7678"/>
              <a:gd name="T5" fmla="*/ 379 h 4320"/>
              <a:gd name="T6" fmla="*/ 176 w 7678"/>
              <a:gd name="T7" fmla="*/ 379 h 4320"/>
              <a:gd name="T8" fmla="*/ 1216 w 7678"/>
              <a:gd name="T9" fmla="*/ 3929 h 4320"/>
              <a:gd name="T10" fmla="*/ 0 w 7678"/>
              <a:gd name="T11" fmla="*/ 3929 h 4320"/>
              <a:gd name="T12" fmla="*/ 0 w 7678"/>
              <a:gd name="T13" fmla="*/ 4320 h 4320"/>
              <a:gd name="T14" fmla="*/ 7678 w 7678"/>
              <a:gd name="T15" fmla="*/ 4320 h 4320"/>
              <a:gd name="T16" fmla="*/ 1510 w 7678"/>
              <a:gd name="T17" fmla="*/ 3929 h 4320"/>
              <a:gd name="T18" fmla="*/ 469 w 7678"/>
              <a:gd name="T19" fmla="*/ 379 h 4320"/>
              <a:gd name="T20" fmla="*/ 808 w 7678"/>
              <a:gd name="T21" fmla="*/ 379 h 4320"/>
              <a:gd name="T22" fmla="*/ 1848 w 7678"/>
              <a:gd name="T23" fmla="*/ 3929 h 4320"/>
              <a:gd name="T24" fmla="*/ 1510 w 7678"/>
              <a:gd name="T25" fmla="*/ 3929 h 4320"/>
              <a:gd name="T26" fmla="*/ 2170 w 7678"/>
              <a:gd name="T27" fmla="*/ 3929 h 4320"/>
              <a:gd name="T28" fmla="*/ 1130 w 7678"/>
              <a:gd name="T29" fmla="*/ 379 h 4320"/>
              <a:gd name="T30" fmla="*/ 3421 w 7678"/>
              <a:gd name="T31" fmla="*/ 379 h 4320"/>
              <a:gd name="T32" fmla="*/ 4461 w 7678"/>
              <a:gd name="T33" fmla="*/ 3929 h 4320"/>
              <a:gd name="T34" fmla="*/ 2170 w 7678"/>
              <a:gd name="T35" fmla="*/ 3929 h 4320"/>
              <a:gd name="T36" fmla="*/ 4519 w 7678"/>
              <a:gd name="T37" fmla="*/ 3929 h 4320"/>
              <a:gd name="T38" fmla="*/ 3479 w 7678"/>
              <a:gd name="T39" fmla="*/ 379 h 4320"/>
              <a:gd name="T40" fmla="*/ 3542 w 7678"/>
              <a:gd name="T41" fmla="*/ 379 h 4320"/>
              <a:gd name="T42" fmla="*/ 4583 w 7678"/>
              <a:gd name="T43" fmla="*/ 3929 h 4320"/>
              <a:gd name="T44" fmla="*/ 4519 w 7678"/>
              <a:gd name="T45" fmla="*/ 3929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7678" h="4320">
                <a:moveTo>
                  <a:pt x="7678" y="0"/>
                </a:moveTo>
                <a:lnTo>
                  <a:pt x="0" y="0"/>
                </a:lnTo>
                <a:lnTo>
                  <a:pt x="0" y="379"/>
                </a:lnTo>
                <a:lnTo>
                  <a:pt x="176" y="379"/>
                </a:lnTo>
                <a:lnTo>
                  <a:pt x="1216" y="3929"/>
                </a:lnTo>
                <a:lnTo>
                  <a:pt x="0" y="3929"/>
                </a:lnTo>
                <a:lnTo>
                  <a:pt x="0" y="4320"/>
                </a:lnTo>
                <a:lnTo>
                  <a:pt x="7678" y="4320"/>
                </a:lnTo>
                <a:moveTo>
                  <a:pt x="1510" y="3929"/>
                </a:moveTo>
                <a:lnTo>
                  <a:pt x="469" y="379"/>
                </a:lnTo>
                <a:lnTo>
                  <a:pt x="808" y="379"/>
                </a:lnTo>
                <a:lnTo>
                  <a:pt x="1848" y="3929"/>
                </a:lnTo>
                <a:lnTo>
                  <a:pt x="1510" y="3929"/>
                </a:lnTo>
                <a:moveTo>
                  <a:pt x="2170" y="3929"/>
                </a:moveTo>
                <a:lnTo>
                  <a:pt x="1130" y="379"/>
                </a:lnTo>
                <a:lnTo>
                  <a:pt x="3421" y="379"/>
                </a:lnTo>
                <a:lnTo>
                  <a:pt x="4461" y="3929"/>
                </a:lnTo>
                <a:lnTo>
                  <a:pt x="2170" y="3929"/>
                </a:lnTo>
                <a:moveTo>
                  <a:pt x="4519" y="3929"/>
                </a:moveTo>
                <a:lnTo>
                  <a:pt x="3479" y="379"/>
                </a:lnTo>
                <a:lnTo>
                  <a:pt x="3542" y="379"/>
                </a:lnTo>
                <a:lnTo>
                  <a:pt x="4583" y="3929"/>
                </a:lnTo>
                <a:lnTo>
                  <a:pt x="4519" y="3929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/>
            <a:endParaRPr lang="en-US" sz="1799">
              <a:solidFill>
                <a:srgbClr val="000000"/>
              </a:solidFill>
            </a:endParaRPr>
          </a:p>
        </p:txBody>
      </p:sp>
      <p:sp>
        <p:nvSpPr>
          <p:cNvPr id="14" name="Freeform: Shape 44"/>
          <p:cNvSpPr>
            <a:spLocks/>
          </p:cNvSpPr>
          <p:nvPr userDrawn="1"/>
        </p:nvSpPr>
        <p:spPr bwMode="auto">
          <a:xfrm flipH="1">
            <a:off x="7265683" y="3594026"/>
            <a:ext cx="639913" cy="73152"/>
          </a:xfrm>
          <a:custGeom>
            <a:avLst/>
            <a:gdLst>
              <a:gd name="connsiteX0" fmla="*/ 833364 w 866779"/>
              <a:gd name="connsiteY0" fmla="*/ 91133 h 91133"/>
              <a:gd name="connsiteX1" fmla="*/ 0 w 866779"/>
              <a:gd name="connsiteY1" fmla="*/ 91133 h 91133"/>
              <a:gd name="connsiteX2" fmla="*/ 742 w 866779"/>
              <a:gd name="connsiteY2" fmla="*/ 89110 h 91133"/>
              <a:gd name="connsiteX3" fmla="*/ 0 w 866779"/>
              <a:gd name="connsiteY3" fmla="*/ 89108 h 91133"/>
              <a:gd name="connsiteX4" fmla="*/ 33416 w 866779"/>
              <a:gd name="connsiteY4" fmla="*/ 0 h 91133"/>
              <a:gd name="connsiteX5" fmla="*/ 866779 w 866779"/>
              <a:gd name="connsiteY5" fmla="*/ 0 h 91133"/>
              <a:gd name="connsiteX6" fmla="*/ 866037 w 866779"/>
              <a:gd name="connsiteY6" fmla="*/ 2024 h 91133"/>
              <a:gd name="connsiteX7" fmla="*/ 866779 w 866779"/>
              <a:gd name="connsiteY7" fmla="*/ 2025 h 9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6779" h="91133">
                <a:moveTo>
                  <a:pt x="833364" y="91133"/>
                </a:moveTo>
                <a:lnTo>
                  <a:pt x="0" y="91133"/>
                </a:lnTo>
                <a:lnTo>
                  <a:pt x="742" y="89110"/>
                </a:lnTo>
                <a:lnTo>
                  <a:pt x="0" y="89108"/>
                </a:lnTo>
                <a:lnTo>
                  <a:pt x="33416" y="0"/>
                </a:lnTo>
                <a:lnTo>
                  <a:pt x="866779" y="0"/>
                </a:lnTo>
                <a:lnTo>
                  <a:pt x="866037" y="2024"/>
                </a:lnTo>
                <a:lnTo>
                  <a:pt x="866779" y="2025"/>
                </a:lnTo>
                <a:close/>
              </a:path>
            </a:pathLst>
          </a:custGeom>
          <a:gradFill flip="none" rotWithShape="1">
            <a:gsLst>
              <a:gs pos="100000">
                <a:srgbClr val="FDB515"/>
              </a:gs>
              <a:gs pos="0">
                <a:srgbClr val="EC008C"/>
              </a:gs>
            </a:gsLst>
            <a:lin ang="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1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22" name="Freeform: Shape 21"/>
          <p:cNvSpPr>
            <a:spLocks/>
          </p:cNvSpPr>
          <p:nvPr userDrawn="1"/>
        </p:nvSpPr>
        <p:spPr bwMode="auto">
          <a:xfrm>
            <a:off x="378243" y="561975"/>
            <a:ext cx="1771222" cy="5724525"/>
          </a:xfrm>
          <a:custGeom>
            <a:avLst/>
            <a:gdLst>
              <a:gd name="connsiteX0" fmla="*/ 0 w 1771683"/>
              <a:gd name="connsiteY0" fmla="*/ 0 h 5724525"/>
              <a:gd name="connsiteX1" fmla="*/ 91133 w 1771683"/>
              <a:gd name="connsiteY1" fmla="*/ 0 h 5724525"/>
              <a:gd name="connsiteX2" fmla="*/ 1771683 w 1771683"/>
              <a:gd name="connsiteY2" fmla="*/ 5724525 h 5724525"/>
              <a:gd name="connsiteX3" fmla="*/ 1668106 w 1771683"/>
              <a:gd name="connsiteY3" fmla="*/ 5724525 h 572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1683" h="5724525">
                <a:moveTo>
                  <a:pt x="0" y="0"/>
                </a:moveTo>
                <a:lnTo>
                  <a:pt x="91133" y="0"/>
                </a:lnTo>
                <a:lnTo>
                  <a:pt x="1771683" y="5724525"/>
                </a:lnTo>
                <a:lnTo>
                  <a:pt x="1668106" y="5724525"/>
                </a:lnTo>
                <a:close/>
              </a:path>
            </a:pathLst>
          </a:custGeom>
          <a:gradFill flip="none" rotWithShape="1">
            <a:gsLst>
              <a:gs pos="0">
                <a:srgbClr val="FDB515"/>
              </a:gs>
              <a:gs pos="100000">
                <a:srgbClr val="EC008C"/>
              </a:gs>
            </a:gsLst>
            <a:lin ang="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51502" y="6382383"/>
            <a:ext cx="392910" cy="292608"/>
          </a:xfrm>
          <a:prstGeom prst="rect">
            <a:avLst/>
          </a:prstGeom>
        </p:spPr>
      </p:pic>
      <p:sp>
        <p:nvSpPr>
          <p:cNvPr id="13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53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1502" y="6382383"/>
            <a:ext cx="39291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995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1518108"/>
          </a:xfrm>
        </p:spPr>
        <p:txBody>
          <a:bodyPr>
            <a:spAutoFit/>
          </a:bodyPr>
          <a:lstStyle>
            <a:lvl1pPr>
              <a:defRPr sz="1999"/>
            </a:lvl1pPr>
            <a:lvl2pPr>
              <a:defRPr sz="1799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3392434" y="3392434"/>
            <a:ext cx="6858000" cy="73133"/>
          </a:xfrm>
          <a:prstGeom prst="rect">
            <a:avLst/>
          </a:prstGeom>
          <a:gradFill flip="none" rotWithShape="1">
            <a:gsLst>
              <a:gs pos="0">
                <a:srgbClr val="FDB515"/>
              </a:gs>
              <a:gs pos="100000">
                <a:srgbClr val="EC008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 err="1">
              <a:solidFill>
                <a:prstClr val="white"/>
              </a:solidFill>
            </a:endParaRPr>
          </a:p>
        </p:txBody>
      </p:sp>
      <p:sp>
        <p:nvSpPr>
          <p:cNvPr id="12" name="Freeform: Shape 44"/>
          <p:cNvSpPr>
            <a:spLocks/>
          </p:cNvSpPr>
          <p:nvPr userDrawn="1"/>
        </p:nvSpPr>
        <p:spPr bwMode="auto">
          <a:xfrm flipH="1">
            <a:off x="546379" y="1186668"/>
            <a:ext cx="639913" cy="73152"/>
          </a:xfrm>
          <a:custGeom>
            <a:avLst/>
            <a:gdLst>
              <a:gd name="connsiteX0" fmla="*/ 833364 w 866779"/>
              <a:gd name="connsiteY0" fmla="*/ 91133 h 91133"/>
              <a:gd name="connsiteX1" fmla="*/ 0 w 866779"/>
              <a:gd name="connsiteY1" fmla="*/ 91133 h 91133"/>
              <a:gd name="connsiteX2" fmla="*/ 742 w 866779"/>
              <a:gd name="connsiteY2" fmla="*/ 89110 h 91133"/>
              <a:gd name="connsiteX3" fmla="*/ 0 w 866779"/>
              <a:gd name="connsiteY3" fmla="*/ 89108 h 91133"/>
              <a:gd name="connsiteX4" fmla="*/ 33416 w 866779"/>
              <a:gd name="connsiteY4" fmla="*/ 0 h 91133"/>
              <a:gd name="connsiteX5" fmla="*/ 866779 w 866779"/>
              <a:gd name="connsiteY5" fmla="*/ 0 h 91133"/>
              <a:gd name="connsiteX6" fmla="*/ 866037 w 866779"/>
              <a:gd name="connsiteY6" fmla="*/ 2024 h 91133"/>
              <a:gd name="connsiteX7" fmla="*/ 866779 w 866779"/>
              <a:gd name="connsiteY7" fmla="*/ 2025 h 9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6779" h="91133">
                <a:moveTo>
                  <a:pt x="833364" y="91133"/>
                </a:moveTo>
                <a:lnTo>
                  <a:pt x="0" y="91133"/>
                </a:lnTo>
                <a:lnTo>
                  <a:pt x="742" y="89110"/>
                </a:lnTo>
                <a:lnTo>
                  <a:pt x="0" y="89108"/>
                </a:lnTo>
                <a:lnTo>
                  <a:pt x="33416" y="0"/>
                </a:lnTo>
                <a:lnTo>
                  <a:pt x="866779" y="0"/>
                </a:lnTo>
                <a:lnTo>
                  <a:pt x="866037" y="2024"/>
                </a:lnTo>
                <a:lnTo>
                  <a:pt x="866779" y="202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1502" y="6382383"/>
            <a:ext cx="39291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97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1518108"/>
          </a:xfrm>
        </p:spPr>
        <p:txBody>
          <a:bodyPr>
            <a:spAutoFit/>
          </a:bodyPr>
          <a:lstStyle>
            <a:lvl1pPr>
              <a:defRPr sz="1999"/>
            </a:lvl1pPr>
            <a:lvl2pPr>
              <a:defRPr sz="1799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3392434" y="3392434"/>
            <a:ext cx="6858000" cy="73133"/>
          </a:xfrm>
          <a:prstGeom prst="rect">
            <a:avLst/>
          </a:prstGeom>
          <a:gradFill flip="none" rotWithShape="1">
            <a:gsLst>
              <a:gs pos="0">
                <a:srgbClr val="FDB515"/>
              </a:gs>
              <a:gs pos="100000">
                <a:srgbClr val="EC008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 err="1">
              <a:solidFill>
                <a:prstClr val="white"/>
              </a:solidFill>
            </a:endParaRPr>
          </a:p>
        </p:txBody>
      </p:sp>
      <p:sp>
        <p:nvSpPr>
          <p:cNvPr id="12" name="Freeform: Shape 44"/>
          <p:cNvSpPr>
            <a:spLocks/>
          </p:cNvSpPr>
          <p:nvPr userDrawn="1"/>
        </p:nvSpPr>
        <p:spPr bwMode="auto">
          <a:xfrm flipH="1">
            <a:off x="546379" y="1186668"/>
            <a:ext cx="639913" cy="73152"/>
          </a:xfrm>
          <a:custGeom>
            <a:avLst/>
            <a:gdLst>
              <a:gd name="connsiteX0" fmla="*/ 833364 w 866779"/>
              <a:gd name="connsiteY0" fmla="*/ 91133 h 91133"/>
              <a:gd name="connsiteX1" fmla="*/ 0 w 866779"/>
              <a:gd name="connsiteY1" fmla="*/ 91133 h 91133"/>
              <a:gd name="connsiteX2" fmla="*/ 742 w 866779"/>
              <a:gd name="connsiteY2" fmla="*/ 89110 h 91133"/>
              <a:gd name="connsiteX3" fmla="*/ 0 w 866779"/>
              <a:gd name="connsiteY3" fmla="*/ 89108 h 91133"/>
              <a:gd name="connsiteX4" fmla="*/ 33416 w 866779"/>
              <a:gd name="connsiteY4" fmla="*/ 0 h 91133"/>
              <a:gd name="connsiteX5" fmla="*/ 866779 w 866779"/>
              <a:gd name="connsiteY5" fmla="*/ 0 h 91133"/>
              <a:gd name="connsiteX6" fmla="*/ 866037 w 866779"/>
              <a:gd name="connsiteY6" fmla="*/ 2024 h 91133"/>
              <a:gd name="connsiteX7" fmla="*/ 866779 w 866779"/>
              <a:gd name="connsiteY7" fmla="*/ 2025 h 9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6779" h="91133">
                <a:moveTo>
                  <a:pt x="833364" y="91133"/>
                </a:moveTo>
                <a:lnTo>
                  <a:pt x="0" y="91133"/>
                </a:lnTo>
                <a:lnTo>
                  <a:pt x="742" y="89110"/>
                </a:lnTo>
                <a:lnTo>
                  <a:pt x="0" y="89108"/>
                </a:lnTo>
                <a:lnTo>
                  <a:pt x="33416" y="0"/>
                </a:lnTo>
                <a:lnTo>
                  <a:pt x="866779" y="0"/>
                </a:lnTo>
                <a:lnTo>
                  <a:pt x="866037" y="2024"/>
                </a:lnTo>
                <a:lnTo>
                  <a:pt x="866779" y="202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1502" y="6382383"/>
            <a:ext cx="39291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9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11"/>
          <a:stretch/>
        </p:blipFill>
        <p:spPr>
          <a:xfrm>
            <a:off x="0" y="-1"/>
            <a:ext cx="7446610" cy="6858001"/>
          </a:xfrm>
          <a:prstGeom prst="rect">
            <a:avLst/>
          </a:prstGeom>
        </p:spPr>
      </p:pic>
      <p:sp>
        <p:nvSpPr>
          <p:cNvPr id="18" name="Freeform 5"/>
          <p:cNvSpPr>
            <a:spLocks noEditPoints="1"/>
          </p:cNvSpPr>
          <p:nvPr userDrawn="1"/>
        </p:nvSpPr>
        <p:spPr bwMode="auto">
          <a:xfrm>
            <a:off x="0" y="0"/>
            <a:ext cx="12211045" cy="6858000"/>
          </a:xfrm>
          <a:custGeom>
            <a:avLst/>
            <a:gdLst>
              <a:gd name="T0" fmla="*/ 0 w 7694"/>
              <a:gd name="T1" fmla="*/ 4320 h 4320"/>
              <a:gd name="T2" fmla="*/ 7694 w 7694"/>
              <a:gd name="T3" fmla="*/ 4320 h 4320"/>
              <a:gd name="T4" fmla="*/ 7694 w 7694"/>
              <a:gd name="T5" fmla="*/ 0 h 4320"/>
              <a:gd name="T6" fmla="*/ 0 w 7694"/>
              <a:gd name="T7" fmla="*/ 0 h 4320"/>
              <a:gd name="T8" fmla="*/ 0 w 7694"/>
              <a:gd name="T9" fmla="*/ 354 h 4320"/>
              <a:gd name="T10" fmla="*/ 179 w 7694"/>
              <a:gd name="T11" fmla="*/ 354 h 4320"/>
              <a:gd name="T12" fmla="*/ 1238 w 7694"/>
              <a:gd name="T13" fmla="*/ 3966 h 4320"/>
              <a:gd name="T14" fmla="*/ 0 w 7694"/>
              <a:gd name="T15" fmla="*/ 3966 h 4320"/>
              <a:gd name="T16" fmla="*/ 0 w 7694"/>
              <a:gd name="T17" fmla="*/ 4320 h 4320"/>
              <a:gd name="T18" fmla="*/ 3607 w 7694"/>
              <a:gd name="T19" fmla="*/ 354 h 4320"/>
              <a:gd name="T20" fmla="*/ 4668 w 7694"/>
              <a:gd name="T21" fmla="*/ 3966 h 4320"/>
              <a:gd name="T22" fmla="*/ 4604 w 7694"/>
              <a:gd name="T23" fmla="*/ 3966 h 4320"/>
              <a:gd name="T24" fmla="*/ 3543 w 7694"/>
              <a:gd name="T25" fmla="*/ 354 h 4320"/>
              <a:gd name="T26" fmla="*/ 3607 w 7694"/>
              <a:gd name="T27" fmla="*/ 354 h 4320"/>
              <a:gd name="T28" fmla="*/ 3485 w 7694"/>
              <a:gd name="T29" fmla="*/ 354 h 4320"/>
              <a:gd name="T30" fmla="*/ 4544 w 7694"/>
              <a:gd name="T31" fmla="*/ 3966 h 4320"/>
              <a:gd name="T32" fmla="*/ 2209 w 7694"/>
              <a:gd name="T33" fmla="*/ 3966 h 4320"/>
              <a:gd name="T34" fmla="*/ 1150 w 7694"/>
              <a:gd name="T35" fmla="*/ 354 h 4320"/>
              <a:gd name="T36" fmla="*/ 3485 w 7694"/>
              <a:gd name="T37" fmla="*/ 354 h 4320"/>
              <a:gd name="T38" fmla="*/ 478 w 7694"/>
              <a:gd name="T39" fmla="*/ 354 h 4320"/>
              <a:gd name="T40" fmla="*/ 822 w 7694"/>
              <a:gd name="T41" fmla="*/ 354 h 4320"/>
              <a:gd name="T42" fmla="*/ 1882 w 7694"/>
              <a:gd name="T43" fmla="*/ 3966 h 4320"/>
              <a:gd name="T44" fmla="*/ 1537 w 7694"/>
              <a:gd name="T45" fmla="*/ 3966 h 4320"/>
              <a:gd name="T46" fmla="*/ 478 w 7694"/>
              <a:gd name="T47" fmla="*/ 354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7694" h="4320">
                <a:moveTo>
                  <a:pt x="0" y="4320"/>
                </a:moveTo>
                <a:lnTo>
                  <a:pt x="7694" y="4320"/>
                </a:lnTo>
                <a:lnTo>
                  <a:pt x="7694" y="0"/>
                </a:lnTo>
                <a:lnTo>
                  <a:pt x="0" y="0"/>
                </a:lnTo>
                <a:lnTo>
                  <a:pt x="0" y="354"/>
                </a:lnTo>
                <a:lnTo>
                  <a:pt x="179" y="354"/>
                </a:lnTo>
                <a:lnTo>
                  <a:pt x="1238" y="3966"/>
                </a:lnTo>
                <a:lnTo>
                  <a:pt x="0" y="3966"/>
                </a:lnTo>
                <a:lnTo>
                  <a:pt x="0" y="4320"/>
                </a:lnTo>
                <a:close/>
                <a:moveTo>
                  <a:pt x="3607" y="354"/>
                </a:moveTo>
                <a:lnTo>
                  <a:pt x="4668" y="3966"/>
                </a:lnTo>
                <a:lnTo>
                  <a:pt x="4604" y="3966"/>
                </a:lnTo>
                <a:lnTo>
                  <a:pt x="3543" y="354"/>
                </a:lnTo>
                <a:lnTo>
                  <a:pt x="3607" y="354"/>
                </a:lnTo>
                <a:close/>
                <a:moveTo>
                  <a:pt x="3485" y="354"/>
                </a:moveTo>
                <a:lnTo>
                  <a:pt x="4544" y="3966"/>
                </a:lnTo>
                <a:lnTo>
                  <a:pt x="2209" y="3966"/>
                </a:lnTo>
                <a:lnTo>
                  <a:pt x="1150" y="354"/>
                </a:lnTo>
                <a:lnTo>
                  <a:pt x="3485" y="354"/>
                </a:lnTo>
                <a:close/>
                <a:moveTo>
                  <a:pt x="478" y="354"/>
                </a:moveTo>
                <a:lnTo>
                  <a:pt x="822" y="354"/>
                </a:lnTo>
                <a:lnTo>
                  <a:pt x="1882" y="3966"/>
                </a:lnTo>
                <a:lnTo>
                  <a:pt x="1537" y="3966"/>
                </a:lnTo>
                <a:lnTo>
                  <a:pt x="478" y="3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/>
            <a:endParaRPr lang="en-US" sz="1799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65682" y="2003489"/>
            <a:ext cx="4374011" cy="1231106"/>
          </a:xfrm>
        </p:spPr>
        <p:txBody>
          <a:bodyPr anchor="b" anchorCtr="0"/>
          <a:lstStyle>
            <a:lvl1pPr>
              <a:defRPr sz="39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65683" y="4026610"/>
            <a:ext cx="4374010" cy="307777"/>
          </a:xfrm>
        </p:spPr>
        <p:txBody>
          <a:bodyPr wrap="square">
            <a:spAutoFit/>
          </a:bodyPr>
          <a:lstStyle>
            <a:lvl1pPr marL="0" indent="0">
              <a:buNone/>
              <a:defRPr sz="1999">
                <a:solidFill>
                  <a:schemeClr val="tx2"/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reeform 6"/>
          <p:cNvSpPr>
            <a:spLocks noEditPoints="1"/>
          </p:cNvSpPr>
          <p:nvPr userDrawn="1"/>
        </p:nvSpPr>
        <p:spPr bwMode="auto">
          <a:xfrm>
            <a:off x="1588" y="1588"/>
            <a:ext cx="12185651" cy="6858000"/>
          </a:xfrm>
          <a:custGeom>
            <a:avLst/>
            <a:gdLst>
              <a:gd name="T0" fmla="*/ 7678 w 7678"/>
              <a:gd name="T1" fmla="*/ 0 h 4320"/>
              <a:gd name="T2" fmla="*/ 0 w 7678"/>
              <a:gd name="T3" fmla="*/ 0 h 4320"/>
              <a:gd name="T4" fmla="*/ 0 w 7678"/>
              <a:gd name="T5" fmla="*/ 379 h 4320"/>
              <a:gd name="T6" fmla="*/ 176 w 7678"/>
              <a:gd name="T7" fmla="*/ 379 h 4320"/>
              <a:gd name="T8" fmla="*/ 1216 w 7678"/>
              <a:gd name="T9" fmla="*/ 3929 h 4320"/>
              <a:gd name="T10" fmla="*/ 0 w 7678"/>
              <a:gd name="T11" fmla="*/ 3929 h 4320"/>
              <a:gd name="T12" fmla="*/ 0 w 7678"/>
              <a:gd name="T13" fmla="*/ 4320 h 4320"/>
              <a:gd name="T14" fmla="*/ 7678 w 7678"/>
              <a:gd name="T15" fmla="*/ 4320 h 4320"/>
              <a:gd name="T16" fmla="*/ 1510 w 7678"/>
              <a:gd name="T17" fmla="*/ 3929 h 4320"/>
              <a:gd name="T18" fmla="*/ 469 w 7678"/>
              <a:gd name="T19" fmla="*/ 379 h 4320"/>
              <a:gd name="T20" fmla="*/ 808 w 7678"/>
              <a:gd name="T21" fmla="*/ 379 h 4320"/>
              <a:gd name="T22" fmla="*/ 1848 w 7678"/>
              <a:gd name="T23" fmla="*/ 3929 h 4320"/>
              <a:gd name="T24" fmla="*/ 1510 w 7678"/>
              <a:gd name="T25" fmla="*/ 3929 h 4320"/>
              <a:gd name="T26" fmla="*/ 2170 w 7678"/>
              <a:gd name="T27" fmla="*/ 3929 h 4320"/>
              <a:gd name="T28" fmla="*/ 1130 w 7678"/>
              <a:gd name="T29" fmla="*/ 379 h 4320"/>
              <a:gd name="T30" fmla="*/ 3421 w 7678"/>
              <a:gd name="T31" fmla="*/ 379 h 4320"/>
              <a:gd name="T32" fmla="*/ 4461 w 7678"/>
              <a:gd name="T33" fmla="*/ 3929 h 4320"/>
              <a:gd name="T34" fmla="*/ 2170 w 7678"/>
              <a:gd name="T35" fmla="*/ 3929 h 4320"/>
              <a:gd name="T36" fmla="*/ 4519 w 7678"/>
              <a:gd name="T37" fmla="*/ 3929 h 4320"/>
              <a:gd name="T38" fmla="*/ 3479 w 7678"/>
              <a:gd name="T39" fmla="*/ 379 h 4320"/>
              <a:gd name="T40" fmla="*/ 3542 w 7678"/>
              <a:gd name="T41" fmla="*/ 379 h 4320"/>
              <a:gd name="T42" fmla="*/ 4583 w 7678"/>
              <a:gd name="T43" fmla="*/ 3929 h 4320"/>
              <a:gd name="T44" fmla="*/ 4519 w 7678"/>
              <a:gd name="T45" fmla="*/ 3929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7678" h="4320">
                <a:moveTo>
                  <a:pt x="7678" y="0"/>
                </a:moveTo>
                <a:lnTo>
                  <a:pt x="0" y="0"/>
                </a:lnTo>
                <a:lnTo>
                  <a:pt x="0" y="379"/>
                </a:lnTo>
                <a:lnTo>
                  <a:pt x="176" y="379"/>
                </a:lnTo>
                <a:lnTo>
                  <a:pt x="1216" y="3929"/>
                </a:lnTo>
                <a:lnTo>
                  <a:pt x="0" y="3929"/>
                </a:lnTo>
                <a:lnTo>
                  <a:pt x="0" y="4320"/>
                </a:lnTo>
                <a:lnTo>
                  <a:pt x="7678" y="4320"/>
                </a:lnTo>
                <a:moveTo>
                  <a:pt x="1510" y="3929"/>
                </a:moveTo>
                <a:lnTo>
                  <a:pt x="469" y="379"/>
                </a:lnTo>
                <a:lnTo>
                  <a:pt x="808" y="379"/>
                </a:lnTo>
                <a:lnTo>
                  <a:pt x="1848" y="3929"/>
                </a:lnTo>
                <a:lnTo>
                  <a:pt x="1510" y="3929"/>
                </a:lnTo>
                <a:moveTo>
                  <a:pt x="2170" y="3929"/>
                </a:moveTo>
                <a:lnTo>
                  <a:pt x="1130" y="379"/>
                </a:lnTo>
                <a:lnTo>
                  <a:pt x="3421" y="379"/>
                </a:lnTo>
                <a:lnTo>
                  <a:pt x="4461" y="3929"/>
                </a:lnTo>
                <a:lnTo>
                  <a:pt x="2170" y="3929"/>
                </a:lnTo>
                <a:moveTo>
                  <a:pt x="4519" y="3929"/>
                </a:moveTo>
                <a:lnTo>
                  <a:pt x="3479" y="379"/>
                </a:lnTo>
                <a:lnTo>
                  <a:pt x="3542" y="379"/>
                </a:lnTo>
                <a:lnTo>
                  <a:pt x="4583" y="3929"/>
                </a:lnTo>
                <a:lnTo>
                  <a:pt x="4519" y="3929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/>
            <a:endParaRPr lang="en-US" sz="1799">
              <a:solidFill>
                <a:srgbClr val="000000"/>
              </a:solidFill>
            </a:endParaRPr>
          </a:p>
        </p:txBody>
      </p:sp>
      <p:sp>
        <p:nvSpPr>
          <p:cNvPr id="14" name="Freeform: Shape 44"/>
          <p:cNvSpPr>
            <a:spLocks/>
          </p:cNvSpPr>
          <p:nvPr userDrawn="1"/>
        </p:nvSpPr>
        <p:spPr bwMode="auto">
          <a:xfrm flipH="1">
            <a:off x="7265683" y="3594026"/>
            <a:ext cx="639913" cy="73152"/>
          </a:xfrm>
          <a:custGeom>
            <a:avLst/>
            <a:gdLst>
              <a:gd name="connsiteX0" fmla="*/ 833364 w 866779"/>
              <a:gd name="connsiteY0" fmla="*/ 91133 h 91133"/>
              <a:gd name="connsiteX1" fmla="*/ 0 w 866779"/>
              <a:gd name="connsiteY1" fmla="*/ 91133 h 91133"/>
              <a:gd name="connsiteX2" fmla="*/ 742 w 866779"/>
              <a:gd name="connsiteY2" fmla="*/ 89110 h 91133"/>
              <a:gd name="connsiteX3" fmla="*/ 0 w 866779"/>
              <a:gd name="connsiteY3" fmla="*/ 89108 h 91133"/>
              <a:gd name="connsiteX4" fmla="*/ 33416 w 866779"/>
              <a:gd name="connsiteY4" fmla="*/ 0 h 91133"/>
              <a:gd name="connsiteX5" fmla="*/ 866779 w 866779"/>
              <a:gd name="connsiteY5" fmla="*/ 0 h 91133"/>
              <a:gd name="connsiteX6" fmla="*/ 866037 w 866779"/>
              <a:gd name="connsiteY6" fmla="*/ 2024 h 91133"/>
              <a:gd name="connsiteX7" fmla="*/ 866779 w 866779"/>
              <a:gd name="connsiteY7" fmla="*/ 2025 h 9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6779" h="91133">
                <a:moveTo>
                  <a:pt x="833364" y="91133"/>
                </a:moveTo>
                <a:lnTo>
                  <a:pt x="0" y="91133"/>
                </a:lnTo>
                <a:lnTo>
                  <a:pt x="742" y="89110"/>
                </a:lnTo>
                <a:lnTo>
                  <a:pt x="0" y="89108"/>
                </a:lnTo>
                <a:lnTo>
                  <a:pt x="33416" y="0"/>
                </a:lnTo>
                <a:lnTo>
                  <a:pt x="866779" y="0"/>
                </a:lnTo>
                <a:lnTo>
                  <a:pt x="866037" y="2024"/>
                </a:lnTo>
                <a:lnTo>
                  <a:pt x="866779" y="2025"/>
                </a:lnTo>
                <a:close/>
              </a:path>
            </a:pathLst>
          </a:custGeom>
          <a:gradFill flip="none" rotWithShape="1">
            <a:gsLst>
              <a:gs pos="100000">
                <a:srgbClr val="FDB515"/>
              </a:gs>
              <a:gs pos="0">
                <a:srgbClr val="EC008C"/>
              </a:gs>
            </a:gsLst>
            <a:lin ang="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1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22" name="Freeform: Shape 21"/>
          <p:cNvSpPr>
            <a:spLocks/>
          </p:cNvSpPr>
          <p:nvPr userDrawn="1"/>
        </p:nvSpPr>
        <p:spPr bwMode="auto">
          <a:xfrm>
            <a:off x="378243" y="561975"/>
            <a:ext cx="1771222" cy="5724525"/>
          </a:xfrm>
          <a:custGeom>
            <a:avLst/>
            <a:gdLst>
              <a:gd name="connsiteX0" fmla="*/ 0 w 1771683"/>
              <a:gd name="connsiteY0" fmla="*/ 0 h 5724525"/>
              <a:gd name="connsiteX1" fmla="*/ 91133 w 1771683"/>
              <a:gd name="connsiteY1" fmla="*/ 0 h 5724525"/>
              <a:gd name="connsiteX2" fmla="*/ 1771683 w 1771683"/>
              <a:gd name="connsiteY2" fmla="*/ 5724525 h 5724525"/>
              <a:gd name="connsiteX3" fmla="*/ 1668106 w 1771683"/>
              <a:gd name="connsiteY3" fmla="*/ 5724525 h 572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1683" h="5724525">
                <a:moveTo>
                  <a:pt x="0" y="0"/>
                </a:moveTo>
                <a:lnTo>
                  <a:pt x="91133" y="0"/>
                </a:lnTo>
                <a:lnTo>
                  <a:pt x="1771683" y="5724525"/>
                </a:lnTo>
                <a:lnTo>
                  <a:pt x="1668106" y="5724525"/>
                </a:lnTo>
                <a:close/>
              </a:path>
            </a:pathLst>
          </a:custGeom>
          <a:gradFill flip="none" rotWithShape="1">
            <a:gsLst>
              <a:gs pos="0">
                <a:srgbClr val="FDB515"/>
              </a:gs>
              <a:gs pos="100000">
                <a:srgbClr val="EC008C"/>
              </a:gs>
            </a:gsLst>
            <a:lin ang="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51502" y="6382383"/>
            <a:ext cx="392910" cy="292608"/>
          </a:xfrm>
          <a:prstGeom prst="rect">
            <a:avLst/>
          </a:prstGeom>
        </p:spPr>
      </p:pic>
      <p:sp>
        <p:nvSpPr>
          <p:cNvPr id="13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138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1518108"/>
          </a:xfrm>
        </p:spPr>
        <p:txBody>
          <a:bodyPr>
            <a:spAutoFit/>
          </a:bodyPr>
          <a:lstStyle>
            <a:lvl1pPr>
              <a:defRPr sz="1999"/>
            </a:lvl1pPr>
            <a:lvl2pPr>
              <a:defRPr sz="1799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3392434" y="3392434"/>
            <a:ext cx="6858000" cy="73133"/>
          </a:xfrm>
          <a:prstGeom prst="rect">
            <a:avLst/>
          </a:prstGeom>
          <a:gradFill flip="none" rotWithShape="1">
            <a:gsLst>
              <a:gs pos="0">
                <a:srgbClr val="FDB515"/>
              </a:gs>
              <a:gs pos="100000">
                <a:srgbClr val="EC008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 err="1">
              <a:solidFill>
                <a:prstClr val="white"/>
              </a:solidFill>
            </a:endParaRPr>
          </a:p>
        </p:txBody>
      </p:sp>
      <p:sp>
        <p:nvSpPr>
          <p:cNvPr id="12" name="Freeform: Shape 44"/>
          <p:cNvSpPr>
            <a:spLocks/>
          </p:cNvSpPr>
          <p:nvPr userDrawn="1"/>
        </p:nvSpPr>
        <p:spPr bwMode="auto">
          <a:xfrm flipH="1">
            <a:off x="546379" y="1186668"/>
            <a:ext cx="639913" cy="73152"/>
          </a:xfrm>
          <a:custGeom>
            <a:avLst/>
            <a:gdLst>
              <a:gd name="connsiteX0" fmla="*/ 833364 w 866779"/>
              <a:gd name="connsiteY0" fmla="*/ 91133 h 91133"/>
              <a:gd name="connsiteX1" fmla="*/ 0 w 866779"/>
              <a:gd name="connsiteY1" fmla="*/ 91133 h 91133"/>
              <a:gd name="connsiteX2" fmla="*/ 742 w 866779"/>
              <a:gd name="connsiteY2" fmla="*/ 89110 h 91133"/>
              <a:gd name="connsiteX3" fmla="*/ 0 w 866779"/>
              <a:gd name="connsiteY3" fmla="*/ 89108 h 91133"/>
              <a:gd name="connsiteX4" fmla="*/ 33416 w 866779"/>
              <a:gd name="connsiteY4" fmla="*/ 0 h 91133"/>
              <a:gd name="connsiteX5" fmla="*/ 866779 w 866779"/>
              <a:gd name="connsiteY5" fmla="*/ 0 h 91133"/>
              <a:gd name="connsiteX6" fmla="*/ 866037 w 866779"/>
              <a:gd name="connsiteY6" fmla="*/ 2024 h 91133"/>
              <a:gd name="connsiteX7" fmla="*/ 866779 w 866779"/>
              <a:gd name="connsiteY7" fmla="*/ 2025 h 9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6779" h="91133">
                <a:moveTo>
                  <a:pt x="833364" y="91133"/>
                </a:moveTo>
                <a:lnTo>
                  <a:pt x="0" y="91133"/>
                </a:lnTo>
                <a:lnTo>
                  <a:pt x="742" y="89110"/>
                </a:lnTo>
                <a:lnTo>
                  <a:pt x="0" y="89108"/>
                </a:lnTo>
                <a:lnTo>
                  <a:pt x="33416" y="0"/>
                </a:lnTo>
                <a:lnTo>
                  <a:pt x="866779" y="0"/>
                </a:lnTo>
                <a:lnTo>
                  <a:pt x="866037" y="2024"/>
                </a:lnTo>
                <a:lnTo>
                  <a:pt x="866779" y="202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1502" y="6382383"/>
            <a:ext cx="39291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00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5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/Relationships>
</file>

<file path=ppt/slideMasters/_rels/slideMaster13.xml.rels><?xml version="1.0" encoding="UTF-8" standalone="yes"?>
<Relationships xmlns="http://schemas.openxmlformats.org/package/2006/relationships"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9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4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vmlDrawing" Target="../drawings/vmlDrawing3.vml"/><Relationship Id="rId1" Type="http://schemas.openxmlformats.org/officeDocument/2006/relationships/theme" Target="../theme/theme5.x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vmlDrawing" Target="../drawings/vmlDrawing4.vml"/><Relationship Id="rId1" Type="http://schemas.openxmlformats.org/officeDocument/2006/relationships/theme" Target="../theme/theme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vmlDrawing" Target="../drawings/vmlDrawing5.vml"/><Relationship Id="rId1" Type="http://schemas.openxmlformats.org/officeDocument/2006/relationships/theme" Target="../theme/theme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vmlDrawing" Target="../drawings/vmlDrawing6.vml"/><Relationship Id="rId1" Type="http://schemas.openxmlformats.org/officeDocument/2006/relationships/theme" Target="../theme/theme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vmlDrawing" Target="../drawings/vmlDrawing7.vml"/><Relationship Id="rId1" Type="http://schemas.openxmlformats.org/officeDocument/2006/relationships/theme" Target="../theme/theme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9974" y="6434199"/>
            <a:ext cx="255965" cy="18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365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lnSpc>
          <a:spcPct val="100000"/>
        </a:lnSpc>
        <a:spcBef>
          <a:spcPts val="1000"/>
        </a:spcBef>
        <a:buFontTx/>
        <a:buNone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126" rtl="0" eaLnBrk="1" latinLnBrk="0" hangingPunct="1">
        <a:lnSpc>
          <a:spcPct val="100000"/>
        </a:lnSpc>
        <a:spcBef>
          <a:spcPts val="1000"/>
        </a:spcBef>
        <a:buFontTx/>
        <a:buNone/>
        <a:defRPr sz="1799" kern="1200">
          <a:solidFill>
            <a:schemeClr val="accent5"/>
          </a:solidFill>
          <a:latin typeface="+mn-lt"/>
          <a:ea typeface="+mn-ea"/>
          <a:cs typeface="+mn-cs"/>
        </a:defRPr>
      </a:lvl2pPr>
      <a:lvl3pPr marL="0" indent="0" algn="l" defTabSz="914126" rtl="0" eaLnBrk="1" latinLnBrk="0" hangingPunct="1">
        <a:lnSpc>
          <a:spcPct val="100000"/>
        </a:lnSpc>
        <a:spcBef>
          <a:spcPts val="1000"/>
        </a:spcBef>
        <a:buFontTx/>
        <a:buNone/>
        <a:defRPr sz="1600" kern="1200">
          <a:solidFill>
            <a:schemeClr val="accent5">
              <a:lumMod val="60000"/>
              <a:lumOff val="40000"/>
            </a:schemeClr>
          </a:solidFill>
          <a:latin typeface="+mn-lt"/>
          <a:ea typeface="+mn-ea"/>
          <a:cs typeface="+mn-cs"/>
        </a:defRPr>
      </a:lvl3pPr>
      <a:lvl4pPr marL="0" indent="0" algn="l" defTabSz="914126" rtl="0" eaLnBrk="1" latinLnBrk="0" hangingPunct="1">
        <a:lnSpc>
          <a:spcPct val="100000"/>
        </a:lnSpc>
        <a:spcBef>
          <a:spcPts val="1000"/>
        </a:spcBef>
        <a:buFontTx/>
        <a:buNone/>
        <a:defRPr sz="1400" kern="1200">
          <a:solidFill>
            <a:schemeClr val="accent5">
              <a:lumMod val="60000"/>
              <a:lumOff val="40000"/>
            </a:schemeClr>
          </a:solidFill>
          <a:latin typeface="+mn-lt"/>
          <a:ea typeface="+mn-ea"/>
          <a:cs typeface="+mn-cs"/>
        </a:defRPr>
      </a:lvl4pPr>
      <a:lvl5pPr marL="0" indent="0" algn="l" defTabSz="914126" rtl="0" eaLnBrk="1" latinLnBrk="0" hangingPunct="1">
        <a:lnSpc>
          <a:spcPct val="100000"/>
        </a:lnSpc>
        <a:spcBef>
          <a:spcPts val="1000"/>
        </a:spcBef>
        <a:buFontTx/>
        <a:buNone/>
        <a:defRPr sz="1400" kern="1200">
          <a:solidFill>
            <a:schemeClr val="accent5">
              <a:lumMod val="60000"/>
              <a:lumOff val="40000"/>
            </a:schemeClr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049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8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330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2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132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4" r:id="rId1"/>
    <p:sldLayoutId id="2147484594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615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8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833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2" r:id="rId1"/>
    <p:sldLayoutId id="214748459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E7CA0"/>
                </a:solidFill>
              </a:rPr>
              <a:t>Information Security Level 2 – Sensitive</a:t>
            </a:r>
            <a:br>
              <a:rPr sz="700" dirty="0">
                <a:solidFill>
                  <a:srgbClr val="6E7CA0"/>
                </a:solidFill>
              </a:rPr>
            </a:br>
            <a:r>
              <a:rPr sz="700" dirty="0">
                <a:solidFill>
                  <a:srgbClr val="6E7CA0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E7CA0"/>
                </a:solidFill>
              </a:rPr>
              <a:pPr/>
              <a:t>‹#›</a:t>
            </a:fld>
            <a:endParaRPr sz="1200" dirty="0">
              <a:solidFill>
                <a:srgbClr val="6E7CA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9974" y="6434199"/>
            <a:ext cx="255965" cy="18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3233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lnSpc>
          <a:spcPct val="100000"/>
        </a:lnSpc>
        <a:spcBef>
          <a:spcPts val="1000"/>
        </a:spcBef>
        <a:buFontTx/>
        <a:buNone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126" rtl="0" eaLnBrk="1" latinLnBrk="0" hangingPunct="1">
        <a:lnSpc>
          <a:spcPct val="100000"/>
        </a:lnSpc>
        <a:spcBef>
          <a:spcPts val="500"/>
        </a:spcBef>
        <a:buFontTx/>
        <a:buNone/>
        <a:defRPr sz="1799" kern="1200">
          <a:solidFill>
            <a:srgbClr val="626469"/>
          </a:solidFill>
          <a:latin typeface="+mn-lt"/>
          <a:ea typeface="+mn-ea"/>
          <a:cs typeface="+mn-cs"/>
        </a:defRPr>
      </a:lvl2pPr>
      <a:lvl3pPr marL="0" indent="0" algn="l" defTabSz="914126" rtl="0" eaLnBrk="1" latinLnBrk="0" hangingPunct="1">
        <a:lnSpc>
          <a:spcPct val="100000"/>
        </a:lnSpc>
        <a:spcBef>
          <a:spcPts val="500"/>
        </a:spcBef>
        <a:buFontTx/>
        <a:buNone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indent="0" algn="l" defTabSz="914126" rtl="0" eaLnBrk="1" latinLnBrk="0" hangingPunct="1">
        <a:lnSpc>
          <a:spcPct val="100000"/>
        </a:lnSpc>
        <a:spcBef>
          <a:spcPts val="500"/>
        </a:spcBef>
        <a:buFontTx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914126" rtl="0" eaLnBrk="1" latinLnBrk="0" hangingPunct="1">
        <a:lnSpc>
          <a:spcPct val="100000"/>
        </a:lnSpc>
        <a:spcBef>
          <a:spcPts val="500"/>
        </a:spcBef>
        <a:buFontTx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45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960">
          <p15:clr>
            <a:srgbClr val="A4A3A4"/>
          </p15:clr>
        </p15:guide>
        <p15:guide id="7" orient="horz" pos="2160">
          <p15:clr>
            <a:srgbClr val="A4A3A4"/>
          </p15:clr>
        </p15:guide>
        <p15:guide id="8" orient="horz" pos="632">
          <p15:clr>
            <a:srgbClr val="A4A3A4"/>
          </p15:clr>
        </p15:guide>
        <p15:guide id="9" orient="horz" pos="1193">
          <p15:clr>
            <a:srgbClr val="A4A3A4"/>
          </p15:clr>
        </p15:guide>
        <p15:guide id="10" orient="horz" pos="1422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941143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4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8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9974" y="6434199"/>
            <a:ext cx="255965" cy="18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711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6" r:id="rId1"/>
    <p:sldLayoutId id="2147484573" r:id="rId2"/>
    <p:sldLayoutId id="2147484589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8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9974" y="6434199"/>
            <a:ext cx="255965" cy="18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66247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11"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8"/>
            <a:ext cx="4113728" cy="365125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E7CA0"/>
                </a:solidFill>
              </a:rPr>
              <a:t>Information Security Level 2 – Sensitive</a:t>
            </a:r>
            <a:br>
              <a:rPr sz="700" dirty="0">
                <a:solidFill>
                  <a:srgbClr val="6E7CA0"/>
                </a:solidFill>
              </a:rPr>
            </a:br>
            <a:r>
              <a:rPr sz="700" dirty="0">
                <a:solidFill>
                  <a:srgbClr val="6E7CA0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9" y="6347388"/>
            <a:ext cx="629729" cy="365125"/>
          </a:xfrm>
          <a:prstGeom prst="rect">
            <a:avLst/>
          </a:prstGeom>
        </p:spPr>
        <p:txBody>
          <a:bodyPr vert="horz" lIns="0" tIns="45696" rIns="91392" bIns="45696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E7CA0"/>
                </a:solidFill>
              </a:rPr>
              <a:pPr/>
              <a:t>‹#›</a:t>
            </a:fld>
            <a:endParaRPr sz="1200" dirty="0">
              <a:solidFill>
                <a:srgbClr val="6E7CA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-1"/>
            <a:ext cx="11430000" cy="6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126"/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63596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3852" rtl="0" eaLnBrk="1" latinLnBrk="0" hangingPunct="1">
        <a:lnSpc>
          <a:spcPct val="100000"/>
        </a:lnSpc>
        <a:spcBef>
          <a:spcPct val="0"/>
        </a:spcBef>
        <a:buNone/>
        <a:defRPr sz="3598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3852" rtl="0" eaLnBrk="1" latinLnBrk="0" hangingPunct="1">
        <a:lnSpc>
          <a:spcPct val="100000"/>
        </a:lnSpc>
        <a:spcBef>
          <a:spcPts val="1000"/>
        </a:spcBef>
        <a:buFontTx/>
        <a:buNone/>
        <a:defRPr sz="1998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3852" rtl="0" eaLnBrk="1" latinLnBrk="0" hangingPunct="1">
        <a:lnSpc>
          <a:spcPct val="100000"/>
        </a:lnSpc>
        <a:spcBef>
          <a:spcPts val="500"/>
        </a:spcBef>
        <a:buFontTx/>
        <a:buNone/>
        <a:defRPr sz="1798" kern="1200">
          <a:solidFill>
            <a:srgbClr val="626469"/>
          </a:solidFill>
          <a:latin typeface="+mn-lt"/>
          <a:ea typeface="+mn-ea"/>
          <a:cs typeface="+mn-cs"/>
        </a:defRPr>
      </a:lvl2pPr>
      <a:lvl3pPr marL="0" indent="0" algn="l" defTabSz="913852" rtl="0" eaLnBrk="1" latinLnBrk="0" hangingPunct="1">
        <a:lnSpc>
          <a:spcPct val="100000"/>
        </a:lnSpc>
        <a:spcBef>
          <a:spcPts val="500"/>
        </a:spcBef>
        <a:buFontTx/>
        <a:buNone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indent="0" algn="l" defTabSz="913852" rtl="0" eaLnBrk="1" latinLnBrk="0" hangingPunct="1">
        <a:lnSpc>
          <a:spcPct val="100000"/>
        </a:lnSpc>
        <a:spcBef>
          <a:spcPts val="500"/>
        </a:spcBef>
        <a:buFontTx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913852" rtl="0" eaLnBrk="1" latinLnBrk="0" hangingPunct="1">
        <a:lnSpc>
          <a:spcPct val="100000"/>
        </a:lnSpc>
        <a:spcBef>
          <a:spcPts val="500"/>
        </a:spcBef>
        <a:buFontTx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3092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7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6943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8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45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960">
          <p15:clr>
            <a:srgbClr val="A4A3A4"/>
          </p15:clr>
        </p15:guide>
        <p15:guide id="7" orient="horz" pos="2160">
          <p15:clr>
            <a:srgbClr val="A4A3A4"/>
          </p15:clr>
        </p15:guide>
        <p15:guide id="8" orient="horz" pos="632">
          <p15:clr>
            <a:srgbClr val="A4A3A4"/>
          </p15:clr>
        </p15:guide>
        <p15:guide id="9" orient="horz" pos="1193">
          <p15:clr>
            <a:srgbClr val="A4A3A4"/>
          </p15:clr>
        </p15:guide>
        <p15:guide id="10" orient="horz" pos="1422">
          <p15:clr>
            <a:srgbClr val="A4A3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00981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0310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>
                <a:solidFill>
                  <a:srgbClr val="6C80A5"/>
                </a:solidFill>
              </a:rPr>
              <a:t>Information Security Level 2 – Sensitive</a:t>
            </a:r>
            <a:br>
              <a:rPr dirty="0">
                <a:solidFill>
                  <a:srgbClr val="6C80A5"/>
                </a:solidFill>
              </a:rPr>
            </a:br>
            <a:r>
              <a:rPr dirty="0">
                <a:solidFill>
                  <a:srgbClr val="6C80A5"/>
                </a:solidFill>
              </a:rPr>
              <a:t>© 2018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4953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confluence/pages/viewpage.action?pageId=38976457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confluence/display/DIGIUI/%5bFlow-001%5d+COP+-+Mobile+Subscription+-+Anonymous" TargetMode="Externa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4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53.pn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2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5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28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18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11" Type="http://schemas.openxmlformats.org/officeDocument/2006/relationships/image" Target="../media/image27.png"/><Relationship Id="rId5" Type="http://schemas.openxmlformats.org/officeDocument/2006/relationships/image" Target="../media/image22.png"/><Relationship Id="rId10" Type="http://schemas.openxmlformats.org/officeDocument/2006/relationships/image" Target="../media/image26.png"/><Relationship Id="rId4" Type="http://schemas.openxmlformats.org/officeDocument/2006/relationships/image" Target="../media/image21.jpeg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9427"/>
            <a:ext cx="12188825" cy="547278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5530" y="6139800"/>
            <a:ext cx="2425576" cy="53021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81458" y="618651"/>
            <a:ext cx="1121371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4800" dirty="0">
              <a:solidFill>
                <a:schemeClr val="bg1"/>
              </a:solidFill>
            </a:endParaRPr>
          </a:p>
          <a:p>
            <a:pPr algn="ctr"/>
            <a:r>
              <a:rPr lang="en-US" sz="4800" dirty="0">
                <a:solidFill>
                  <a:schemeClr val="bg1"/>
                </a:solidFill>
              </a:rPr>
              <a:t>Experience Layer </a:t>
            </a:r>
          </a:p>
        </p:txBody>
      </p:sp>
      <p:sp>
        <p:nvSpPr>
          <p:cNvPr id="7" name="Freeform: Shape 44"/>
          <p:cNvSpPr>
            <a:spLocks/>
          </p:cNvSpPr>
          <p:nvPr/>
        </p:nvSpPr>
        <p:spPr bwMode="auto">
          <a:xfrm flipV="1">
            <a:off x="5776720" y="3260829"/>
            <a:ext cx="631818" cy="63387"/>
          </a:xfrm>
          <a:custGeom>
            <a:avLst/>
            <a:gdLst>
              <a:gd name="connsiteX0" fmla="*/ 833364 w 866779"/>
              <a:gd name="connsiteY0" fmla="*/ 91133 h 91133"/>
              <a:gd name="connsiteX1" fmla="*/ 0 w 866779"/>
              <a:gd name="connsiteY1" fmla="*/ 91133 h 91133"/>
              <a:gd name="connsiteX2" fmla="*/ 742 w 866779"/>
              <a:gd name="connsiteY2" fmla="*/ 89110 h 91133"/>
              <a:gd name="connsiteX3" fmla="*/ 0 w 866779"/>
              <a:gd name="connsiteY3" fmla="*/ 89108 h 91133"/>
              <a:gd name="connsiteX4" fmla="*/ 33416 w 866779"/>
              <a:gd name="connsiteY4" fmla="*/ 0 h 91133"/>
              <a:gd name="connsiteX5" fmla="*/ 866779 w 866779"/>
              <a:gd name="connsiteY5" fmla="*/ 0 h 91133"/>
              <a:gd name="connsiteX6" fmla="*/ 866037 w 866779"/>
              <a:gd name="connsiteY6" fmla="*/ 2024 h 91133"/>
              <a:gd name="connsiteX7" fmla="*/ 866779 w 866779"/>
              <a:gd name="connsiteY7" fmla="*/ 2025 h 9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6779" h="91133">
                <a:moveTo>
                  <a:pt x="833364" y="91133"/>
                </a:moveTo>
                <a:lnTo>
                  <a:pt x="0" y="91133"/>
                </a:lnTo>
                <a:lnTo>
                  <a:pt x="742" y="89110"/>
                </a:lnTo>
                <a:lnTo>
                  <a:pt x="0" y="89108"/>
                </a:lnTo>
                <a:lnTo>
                  <a:pt x="33416" y="0"/>
                </a:lnTo>
                <a:lnTo>
                  <a:pt x="866779" y="0"/>
                </a:lnTo>
                <a:lnTo>
                  <a:pt x="866037" y="2024"/>
                </a:lnTo>
                <a:lnTo>
                  <a:pt x="866779" y="2025"/>
                </a:lnTo>
                <a:close/>
              </a:path>
            </a:pathLst>
          </a:custGeom>
          <a:gradFill flip="none" rotWithShape="1">
            <a:gsLst>
              <a:gs pos="0">
                <a:srgbClr val="FDB515"/>
              </a:gs>
              <a:gs pos="100000">
                <a:srgbClr val="EC008C"/>
              </a:gs>
            </a:gsLst>
            <a:lin ang="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0525760" y="6217920"/>
            <a:ext cx="1663064" cy="568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1" name="TextBox 10"/>
          <p:cNvSpPr txBox="1"/>
          <p:nvPr/>
        </p:nvSpPr>
        <p:spPr>
          <a:xfrm>
            <a:off x="481457" y="3638807"/>
            <a:ext cx="11213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Amdocs </a:t>
            </a:r>
            <a:r>
              <a:rPr lang="en-US" sz="3200" dirty="0" err="1">
                <a:solidFill>
                  <a:schemeClr val="bg1"/>
                </a:solidFill>
              </a:rPr>
              <a:t>DigitalONE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8896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ical Skeleton of UXF, </a:t>
            </a:r>
            <a:r>
              <a:rPr lang="en-US" dirty="0" err="1"/>
              <a:t>Redux</a:t>
            </a:r>
            <a:endParaRPr lang="en-US" dirty="0"/>
          </a:p>
        </p:txBody>
      </p:sp>
      <p:sp>
        <p:nvSpPr>
          <p:cNvPr id="5" name="Content Placeholder 15"/>
          <p:cNvSpPr>
            <a:spLocks noGrp="1"/>
          </p:cNvSpPr>
          <p:nvPr>
            <p:ph idx="1"/>
          </p:nvPr>
        </p:nvSpPr>
        <p:spPr>
          <a:xfrm>
            <a:off x="252541" y="1365085"/>
            <a:ext cx="4753584" cy="4643651"/>
          </a:xfrm>
        </p:spPr>
        <p:txBody>
          <a:bodyPr/>
          <a:lstStyle/>
          <a:p>
            <a:r>
              <a:rPr lang="en-US" dirty="0" err="1"/>
              <a:t>Redux</a:t>
            </a:r>
            <a:r>
              <a:rPr lang="en-US" dirty="0"/>
              <a:t> – Modular State Management</a:t>
            </a:r>
          </a:p>
          <a:p>
            <a:pPr lvl="1"/>
            <a:r>
              <a:rPr lang="en-US" dirty="0"/>
              <a:t>Without Redux (or message bus/hub)</a:t>
            </a:r>
          </a:p>
          <a:p>
            <a:pPr lvl="2"/>
            <a:r>
              <a:rPr lang="en-US" dirty="0"/>
              <a:t>Data flow between components</a:t>
            </a:r>
          </a:p>
          <a:p>
            <a:pPr lvl="2"/>
            <a:r>
              <a:rPr lang="en-US" dirty="0"/>
              <a:t>Component may push data</a:t>
            </a:r>
          </a:p>
          <a:p>
            <a:pPr lvl="2"/>
            <a:r>
              <a:rPr lang="en-US" dirty="0"/>
              <a:t>Component may subscribe to </a:t>
            </a:r>
            <a:br>
              <a:rPr lang="en-US" dirty="0"/>
            </a:br>
            <a:r>
              <a:rPr lang="en-US" dirty="0"/>
              <a:t>data</a:t>
            </a:r>
          </a:p>
          <a:p>
            <a:pPr marL="507848" lvl="2" indent="0">
              <a:buNone/>
            </a:pPr>
            <a:endParaRPr lang="en-US" dirty="0"/>
          </a:p>
          <a:p>
            <a:pPr lvl="1"/>
            <a:r>
              <a:rPr lang="en-US" dirty="0"/>
              <a:t>With Redux</a:t>
            </a:r>
          </a:p>
          <a:p>
            <a:pPr lvl="2"/>
            <a:r>
              <a:rPr lang="en-US" dirty="0"/>
              <a:t>Changes apply to the state</a:t>
            </a:r>
          </a:p>
          <a:p>
            <a:pPr lvl="2"/>
            <a:r>
              <a:rPr lang="en-US" dirty="0"/>
              <a:t>Component’s state subscribes to </a:t>
            </a:r>
            <a:br>
              <a:rPr lang="en-US" dirty="0"/>
            </a:br>
            <a:r>
              <a:rPr lang="en-US" dirty="0"/>
              <a:t>actions</a:t>
            </a:r>
          </a:p>
          <a:p>
            <a:pPr lvl="2"/>
            <a:r>
              <a:rPr lang="en-US" dirty="0"/>
              <a:t>State updates connected </a:t>
            </a:r>
            <a:br>
              <a:rPr lang="en-US" dirty="0"/>
            </a:br>
            <a:r>
              <a:rPr lang="en-US" dirty="0"/>
              <a:t>components directly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0026" y="1352286"/>
            <a:ext cx="7751331" cy="4704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77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technologie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2252" y="1252021"/>
            <a:ext cx="11088784" cy="6748808"/>
          </a:xfrm>
        </p:spPr>
        <p:txBody>
          <a:bodyPr/>
          <a:lstStyle/>
          <a:p>
            <a:r>
              <a:rPr lang="en-US" sz="2399" b="1" dirty="0"/>
              <a:t>ES6 (ES 2015) – Client Kit Services</a:t>
            </a:r>
            <a:endParaRPr lang="en-US" b="1" dirty="0"/>
          </a:p>
          <a:p>
            <a:pPr lvl="1"/>
            <a:r>
              <a:rPr lang="en-US" sz="2199" dirty="0"/>
              <a:t>Industry JavaScript language standard, W3C</a:t>
            </a:r>
          </a:p>
          <a:p>
            <a:pPr lvl="1"/>
            <a:r>
              <a:rPr lang="en-US" sz="2199" dirty="0"/>
              <a:t>Trivially portable to previous JavaScript standard: ECMAScript 5</a:t>
            </a:r>
          </a:p>
          <a:p>
            <a:pPr lvl="1"/>
            <a:r>
              <a:rPr lang="en-US" sz="2199" dirty="0"/>
              <a:t>Widely supported (up to 90 - 95% of total feature set)</a:t>
            </a:r>
          </a:p>
          <a:p>
            <a:pPr lvl="1"/>
            <a:r>
              <a:rPr lang="en-US" sz="2199" dirty="0"/>
              <a:t>Intended to improve development practices and standards</a:t>
            </a:r>
          </a:p>
          <a:p>
            <a:r>
              <a:rPr lang="en-US" sz="2799" b="1" dirty="0"/>
              <a:t>Build frameworks</a:t>
            </a:r>
            <a:endParaRPr lang="en-US" sz="2399" dirty="0"/>
          </a:p>
          <a:p>
            <a:pPr lvl="1"/>
            <a:r>
              <a:rPr lang="en-US" sz="2599" b="1" dirty="0" err="1"/>
              <a:t>Webpack</a:t>
            </a:r>
            <a:r>
              <a:rPr lang="en-US" sz="2599" b="1" dirty="0"/>
              <a:t> – App/Component packager</a:t>
            </a:r>
          </a:p>
          <a:p>
            <a:pPr lvl="2"/>
            <a:r>
              <a:rPr lang="en-US" sz="2199" dirty="0"/>
              <a:t>Automatic code-splitting</a:t>
            </a:r>
          </a:p>
          <a:p>
            <a:pPr lvl="2"/>
            <a:r>
              <a:rPr lang="en-US" sz="2199" dirty="0"/>
              <a:t>Automatic lazy loading</a:t>
            </a:r>
          </a:p>
          <a:p>
            <a:pPr lvl="2"/>
            <a:r>
              <a:rPr lang="en-US" sz="2199" dirty="0"/>
              <a:t>Agnostic to module syntax/standard (ES6/</a:t>
            </a:r>
            <a:r>
              <a:rPr lang="en-US" sz="2199" dirty="0" err="1"/>
              <a:t>RequireJS</a:t>
            </a:r>
            <a:r>
              <a:rPr lang="en-US" sz="2199" dirty="0"/>
              <a:t>/</a:t>
            </a:r>
            <a:r>
              <a:rPr lang="en-US" sz="2199" dirty="0" err="1"/>
              <a:t>CommonJS</a:t>
            </a:r>
            <a:r>
              <a:rPr lang="en-US" sz="2199" dirty="0"/>
              <a:t>)</a:t>
            </a:r>
          </a:p>
          <a:p>
            <a:pPr lvl="1"/>
            <a:r>
              <a:rPr lang="en-US" sz="2599" b="1" dirty="0" err="1"/>
              <a:t>npm</a:t>
            </a:r>
            <a:r>
              <a:rPr lang="en-US" sz="2599" b="1" dirty="0"/>
              <a:t> – module management (Nexus)</a:t>
            </a:r>
          </a:p>
          <a:p>
            <a:pPr lvl="2"/>
            <a:r>
              <a:rPr lang="en-US" sz="2199" dirty="0"/>
              <a:t>Central repository</a:t>
            </a:r>
          </a:p>
          <a:p>
            <a:pPr marL="287252" lvl="1" indent="0">
              <a:buNone/>
            </a:pPr>
            <a:endParaRPr lang="en-US" sz="2399" b="1" dirty="0"/>
          </a:p>
          <a:p>
            <a:pPr lvl="1"/>
            <a:endParaRPr lang="en-US" sz="2399" b="1" dirty="0"/>
          </a:p>
          <a:p>
            <a:pPr lvl="1"/>
            <a:endParaRPr lang="en-US" sz="2399" b="1" dirty="0"/>
          </a:p>
          <a:p>
            <a:pPr lvl="2"/>
            <a:endParaRPr lang="en-US" sz="1999" dirty="0"/>
          </a:p>
        </p:txBody>
      </p:sp>
    </p:spTree>
    <p:extLst>
      <p:ext uri="{BB962C8B-B14F-4D97-AF65-F5344CB8AC3E}">
        <p14:creationId xmlns:p14="http://schemas.microsoft.com/office/powerpoint/2010/main" val="4119461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65682" y="2619042"/>
            <a:ext cx="4374011" cy="615553"/>
          </a:xfrm>
        </p:spPr>
        <p:txBody>
          <a:bodyPr/>
          <a:lstStyle/>
          <a:p>
            <a:r>
              <a:rPr lang="en-US" sz="4000" dirty="0">
                <a:solidFill>
                  <a:srgbClr val="003A69"/>
                </a:solidFill>
              </a:rPr>
              <a:t>SDK modules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body" idx="1"/>
          </p:nvPr>
        </p:nvSpPr>
        <p:spPr>
          <a:xfrm>
            <a:off x="7265682" y="4026453"/>
            <a:ext cx="4374010" cy="307777"/>
          </a:xfrm>
        </p:spPr>
        <p:txBody>
          <a:bodyPr/>
          <a:lstStyle/>
          <a:p>
            <a:pPr marL="342797" indent="-342797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3A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29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DK modu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39595" y="1366753"/>
            <a:ext cx="11088784" cy="7184018"/>
          </a:xfrm>
        </p:spPr>
        <p:txBody>
          <a:bodyPr/>
          <a:lstStyle/>
          <a:p>
            <a:r>
              <a:rPr lang="en-US" sz="2800" dirty="0"/>
              <a:t>Module is a standalone unit that is responsible for a specific functionality </a:t>
            </a:r>
          </a:p>
          <a:p>
            <a:r>
              <a:rPr lang="en-US" sz="2400" dirty="0"/>
              <a:t>Module encapsulate data and supply services (APIs) to manage it</a:t>
            </a:r>
          </a:p>
          <a:p>
            <a:pPr lvl="1"/>
            <a:r>
              <a:rPr lang="en-US" sz="2000" dirty="0"/>
              <a:t>Module’s store data is visible only to this module – there is no direct access for other modules </a:t>
            </a:r>
          </a:p>
          <a:p>
            <a:r>
              <a:rPr lang="en-US" sz="2400" dirty="0"/>
              <a:t>Module may handle multiple instances of data </a:t>
            </a:r>
          </a:p>
          <a:p>
            <a:r>
              <a:rPr lang="en-US" sz="2400" dirty="0"/>
              <a:t>Examples of modules are: </a:t>
            </a:r>
          </a:p>
          <a:p>
            <a:pPr lvl="1"/>
            <a:r>
              <a:rPr lang="en-US" sz="2000" dirty="0"/>
              <a:t>Customer , </a:t>
            </a:r>
            <a:r>
              <a:rPr lang="en-US" sz="2000" dirty="0" err="1"/>
              <a:t>CustomerProfile</a:t>
            </a:r>
            <a:endParaRPr lang="en-US" sz="2000" dirty="0"/>
          </a:p>
          <a:p>
            <a:pPr lvl="1"/>
            <a:r>
              <a:rPr lang="en-US" sz="2000" dirty="0"/>
              <a:t>Bill, Cart, Order</a:t>
            </a:r>
          </a:p>
          <a:p>
            <a:pPr lvl="1"/>
            <a:r>
              <a:rPr lang="en-US" sz="2000" dirty="0"/>
              <a:t>Etc. </a:t>
            </a:r>
          </a:p>
          <a:p>
            <a:pPr lvl="1"/>
            <a:r>
              <a:rPr lang="en-US" sz="2000" dirty="0"/>
              <a:t>Full list can be found in </a:t>
            </a:r>
            <a:r>
              <a:rPr lang="en-US" sz="2000" dirty="0">
                <a:hlinkClick r:id="rId3"/>
              </a:rPr>
              <a:t>https://confluence/pages/viewpage.action?pageId=38976457</a:t>
            </a:r>
            <a:endParaRPr lang="en-US" sz="2000" dirty="0"/>
          </a:p>
          <a:p>
            <a:endParaRPr lang="en-US" sz="2400" dirty="0"/>
          </a:p>
          <a:p>
            <a:pPr marL="287252" lvl="1" indent="0">
              <a:buNone/>
            </a:pPr>
            <a:endParaRPr lang="en-US" sz="2800" b="1" dirty="0"/>
          </a:p>
          <a:p>
            <a:pPr lvl="1"/>
            <a:endParaRPr lang="en-US" sz="2800" b="1" dirty="0"/>
          </a:p>
          <a:p>
            <a:pPr lvl="1"/>
            <a:endParaRPr lang="en-US" sz="2800" b="1" dirty="0"/>
          </a:p>
          <a:p>
            <a:pPr lvl="2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0605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DK modules – </a:t>
            </a:r>
            <a:r>
              <a:rPr lang="en-US" dirty="0" err="1"/>
              <a:t>CustomerProfile</a:t>
            </a:r>
            <a:r>
              <a:rPr lang="en-US" dirty="0"/>
              <a:t> module examp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2252" y="1252021"/>
            <a:ext cx="11088784" cy="1979388"/>
          </a:xfrm>
        </p:spPr>
        <p:txBody>
          <a:bodyPr/>
          <a:lstStyle/>
          <a:p>
            <a:endParaRPr lang="en-US" dirty="0"/>
          </a:p>
          <a:p>
            <a:pPr marL="287252" lvl="1" indent="0">
              <a:buNone/>
            </a:pPr>
            <a:endParaRPr lang="en-US" sz="2399" b="1" dirty="0"/>
          </a:p>
          <a:p>
            <a:pPr lvl="1"/>
            <a:endParaRPr lang="en-US" sz="2399" b="1" dirty="0"/>
          </a:p>
          <a:p>
            <a:pPr lvl="1"/>
            <a:endParaRPr lang="en-US" sz="2399" b="1" dirty="0"/>
          </a:p>
          <a:p>
            <a:pPr lvl="2"/>
            <a:endParaRPr lang="en-US" sz="1999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9137" y="1412421"/>
            <a:ext cx="2930143" cy="544557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6165" y="3380435"/>
            <a:ext cx="7447417" cy="3328539"/>
          </a:xfrm>
          <a:prstGeom prst="rect">
            <a:avLst/>
          </a:prstGeom>
        </p:spPr>
      </p:pic>
      <p:sp>
        <p:nvSpPr>
          <p:cNvPr id="6" name="Rectangular Callout 5"/>
          <p:cNvSpPr/>
          <p:nvPr/>
        </p:nvSpPr>
        <p:spPr>
          <a:xfrm>
            <a:off x="4476165" y="2455912"/>
            <a:ext cx="4463728" cy="850010"/>
          </a:xfrm>
          <a:prstGeom prst="wedgeRectCallout">
            <a:avLst>
              <a:gd name="adj1" fmla="val -68265"/>
              <a:gd name="adj2" fmla="val 7491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dirty="0">
                <a:solidFill>
                  <a:schemeClr val="tx1"/>
                </a:solidFill>
              </a:rPr>
              <a:t>The module fields (exposed only to the customizer of </a:t>
            </a:r>
            <a:r>
              <a:rPr lang="en-US" sz="1799" dirty="0" err="1">
                <a:solidFill>
                  <a:schemeClr val="tx1"/>
                </a:solidFill>
              </a:rPr>
              <a:t>CustomerProfile</a:t>
            </a:r>
            <a:r>
              <a:rPr lang="en-US" sz="1799" dirty="0">
                <a:solidFill>
                  <a:schemeClr val="tx1"/>
                </a:solidFill>
              </a:rPr>
              <a:t>) and APIs (exposed to everyone)</a:t>
            </a:r>
          </a:p>
        </p:txBody>
      </p:sp>
      <p:sp>
        <p:nvSpPr>
          <p:cNvPr id="7" name="Rectangular Callout 6"/>
          <p:cNvSpPr/>
          <p:nvPr/>
        </p:nvSpPr>
        <p:spPr>
          <a:xfrm>
            <a:off x="4286250" y="1177508"/>
            <a:ext cx="4653642" cy="850010"/>
          </a:xfrm>
          <a:prstGeom prst="wedgeRectCallout">
            <a:avLst>
              <a:gd name="adj1" fmla="val -96267"/>
              <a:gd name="adj2" fmla="val 383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dirty="0">
                <a:solidFill>
                  <a:schemeClr val="tx1"/>
                </a:solidFill>
              </a:rPr>
              <a:t>Shows the data that is persisted in session storage (available after full page refresh)</a:t>
            </a:r>
          </a:p>
        </p:txBody>
      </p:sp>
    </p:spTree>
    <p:extLst>
      <p:ext uri="{BB962C8B-B14F-4D97-AF65-F5344CB8AC3E}">
        <p14:creationId xmlns:p14="http://schemas.microsoft.com/office/powerpoint/2010/main" val="239325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P flow design examp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1051185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confluence/display/DIGIUI/%5BFlow-001%5D+COP+-+Mobile+Subscription+-+Anonymou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16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Experience – Client Architecture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7046665" y="1451036"/>
            <a:ext cx="3875665" cy="1449335"/>
          </a:xfrm>
          <a:prstGeom prst="round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 err="1"/>
          </a:p>
        </p:txBody>
      </p:sp>
      <p:sp>
        <p:nvSpPr>
          <p:cNvPr id="8" name="Rounded Rectangle 7"/>
          <p:cNvSpPr/>
          <p:nvPr/>
        </p:nvSpPr>
        <p:spPr>
          <a:xfrm>
            <a:off x="9170186" y="1771479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act View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9170186" y="2231468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tainer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7046663" y="2996602"/>
            <a:ext cx="3875666" cy="2355947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 err="1"/>
          </a:p>
        </p:txBody>
      </p:sp>
      <p:sp>
        <p:nvSpPr>
          <p:cNvPr id="11" name="Rounded Rectangle 10"/>
          <p:cNvSpPr/>
          <p:nvPr/>
        </p:nvSpPr>
        <p:spPr>
          <a:xfrm>
            <a:off x="7389475" y="3467089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ction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7389475" y="4741497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ervices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9170186" y="4014965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tore (Redux)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9170186" y="4741497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ducer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7046663" y="5453796"/>
            <a:ext cx="3875666" cy="888111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 err="1"/>
          </a:p>
        </p:txBody>
      </p:sp>
      <p:sp>
        <p:nvSpPr>
          <p:cNvPr id="16" name="Rounded Rectangle 15"/>
          <p:cNvSpPr/>
          <p:nvPr/>
        </p:nvSpPr>
        <p:spPr>
          <a:xfrm>
            <a:off x="7389475" y="5889399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ST Services</a:t>
            </a:r>
          </a:p>
        </p:txBody>
      </p:sp>
      <p:cxnSp>
        <p:nvCxnSpPr>
          <p:cNvPr id="18" name="Elbow Connector 17"/>
          <p:cNvCxnSpPr>
            <a:stCxn id="9" idx="1"/>
            <a:endCxn id="11" idx="0"/>
          </p:cNvCxnSpPr>
          <p:nvPr/>
        </p:nvCxnSpPr>
        <p:spPr>
          <a:xfrm rot="10800000" flipV="1">
            <a:off x="8022723" y="2368135"/>
            <a:ext cx="1147463" cy="1098954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/>
          <p:cNvCxnSpPr>
            <a:stCxn id="11" idx="3"/>
            <a:endCxn id="13" idx="1"/>
          </p:cNvCxnSpPr>
          <p:nvPr/>
        </p:nvCxnSpPr>
        <p:spPr>
          <a:xfrm>
            <a:off x="8655970" y="3603757"/>
            <a:ext cx="514216" cy="54787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stCxn id="14" idx="3"/>
            <a:endCxn id="13" idx="3"/>
          </p:cNvCxnSpPr>
          <p:nvPr/>
        </p:nvCxnSpPr>
        <p:spPr>
          <a:xfrm flipV="1">
            <a:off x="10436681" y="4151632"/>
            <a:ext cx="12697" cy="726532"/>
          </a:xfrm>
          <a:prstGeom prst="bentConnector3">
            <a:avLst>
              <a:gd name="adj1" fmla="val 1800000"/>
            </a:avLst>
          </a:prstGeom>
          <a:ln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11" idx="2"/>
            <a:endCxn id="12" idx="0"/>
          </p:cNvCxnSpPr>
          <p:nvPr/>
        </p:nvCxnSpPr>
        <p:spPr>
          <a:xfrm>
            <a:off x="8022723" y="3740423"/>
            <a:ext cx="0" cy="1001073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stCxn id="12" idx="2"/>
            <a:endCxn id="16" idx="0"/>
          </p:cNvCxnSpPr>
          <p:nvPr/>
        </p:nvCxnSpPr>
        <p:spPr>
          <a:xfrm>
            <a:off x="8022723" y="5014830"/>
            <a:ext cx="0" cy="87456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3" idx="2"/>
            <a:endCxn id="14" idx="0"/>
          </p:cNvCxnSpPr>
          <p:nvPr/>
        </p:nvCxnSpPr>
        <p:spPr>
          <a:xfrm>
            <a:off x="9803434" y="4288298"/>
            <a:ext cx="0" cy="45319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8860704" y="3557513"/>
            <a:ext cx="704666" cy="215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Dispatch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208276" y="4291396"/>
            <a:ext cx="704666" cy="215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Dispatch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419403" y="3808820"/>
            <a:ext cx="704666" cy="215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API Call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475178" y="5024548"/>
            <a:ext cx="704666" cy="215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AJAX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9967019" y="3329517"/>
            <a:ext cx="768602" cy="338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Subscribe to change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0036735" y="4548504"/>
            <a:ext cx="704666" cy="215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New State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8632163" y="1496600"/>
            <a:ext cx="704666" cy="307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View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461950" y="3063162"/>
            <a:ext cx="1230784" cy="307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Client SDK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8360772" y="5566045"/>
            <a:ext cx="1618828" cy="307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Experience API</a:t>
            </a:r>
          </a:p>
        </p:txBody>
      </p:sp>
      <p:sp>
        <p:nvSpPr>
          <p:cNvPr id="45" name="Oval 44"/>
          <p:cNvSpPr/>
          <p:nvPr/>
        </p:nvSpPr>
        <p:spPr>
          <a:xfrm>
            <a:off x="10517623" y="1846619"/>
            <a:ext cx="219018" cy="196513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46" name="Oval 45"/>
          <p:cNvSpPr/>
          <p:nvPr/>
        </p:nvSpPr>
        <p:spPr>
          <a:xfrm>
            <a:off x="10527145" y="2300059"/>
            <a:ext cx="195212" cy="191866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47" name="Oval 46"/>
          <p:cNvSpPr/>
          <p:nvPr/>
        </p:nvSpPr>
        <p:spPr>
          <a:xfrm>
            <a:off x="7120464" y="3543910"/>
            <a:ext cx="219018" cy="196513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3"/>
                </a:solidFill>
              </a:rPr>
              <a:t>3</a:t>
            </a:r>
          </a:p>
        </p:txBody>
      </p:sp>
      <p:sp>
        <p:nvSpPr>
          <p:cNvPr id="48" name="Oval 47"/>
          <p:cNvSpPr/>
          <p:nvPr/>
        </p:nvSpPr>
        <p:spPr>
          <a:xfrm>
            <a:off x="7132366" y="4818532"/>
            <a:ext cx="195212" cy="191866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3"/>
                </a:solidFill>
              </a:rPr>
              <a:t>6</a:t>
            </a:r>
          </a:p>
        </p:txBody>
      </p:sp>
      <p:sp>
        <p:nvSpPr>
          <p:cNvPr id="49" name="Oval 48"/>
          <p:cNvSpPr/>
          <p:nvPr/>
        </p:nvSpPr>
        <p:spPr>
          <a:xfrm>
            <a:off x="10460487" y="3832353"/>
            <a:ext cx="219018" cy="196513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3"/>
                </a:solidFill>
              </a:rPr>
              <a:t>5</a:t>
            </a:r>
          </a:p>
        </p:txBody>
      </p:sp>
      <p:sp>
        <p:nvSpPr>
          <p:cNvPr id="50" name="Oval 49"/>
          <p:cNvSpPr/>
          <p:nvPr/>
        </p:nvSpPr>
        <p:spPr>
          <a:xfrm>
            <a:off x="10498236" y="5024099"/>
            <a:ext cx="195212" cy="191866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3"/>
                </a:solidFill>
              </a:rPr>
              <a:t>4</a:t>
            </a:r>
          </a:p>
        </p:txBody>
      </p:sp>
      <p:sp>
        <p:nvSpPr>
          <p:cNvPr id="52" name="Oval 51"/>
          <p:cNvSpPr/>
          <p:nvPr/>
        </p:nvSpPr>
        <p:spPr>
          <a:xfrm>
            <a:off x="7132366" y="5913082"/>
            <a:ext cx="195212" cy="191866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1"/>
                </a:solidFill>
              </a:rPr>
              <a:t>7</a:t>
            </a:r>
          </a:p>
        </p:txBody>
      </p:sp>
      <p:sp>
        <p:nvSpPr>
          <p:cNvPr id="51" name="Rounded Rectangle 50"/>
          <p:cNvSpPr/>
          <p:nvPr/>
        </p:nvSpPr>
        <p:spPr>
          <a:xfrm>
            <a:off x="11250857" y="2228147"/>
            <a:ext cx="66657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UB</a:t>
            </a:r>
          </a:p>
        </p:txBody>
      </p:sp>
      <p:cxnSp>
        <p:nvCxnSpPr>
          <p:cNvPr id="67" name="Elbow Connector 66"/>
          <p:cNvCxnSpPr/>
          <p:nvPr/>
        </p:nvCxnSpPr>
        <p:spPr>
          <a:xfrm rot="5400000">
            <a:off x="10088943" y="2422297"/>
            <a:ext cx="1471561" cy="1690248"/>
          </a:xfrm>
          <a:prstGeom prst="bentConnector3">
            <a:avLst>
              <a:gd name="adj1" fmla="val 42235"/>
            </a:avLst>
          </a:prstGeom>
          <a:ln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Oval 67"/>
          <p:cNvSpPr/>
          <p:nvPr/>
        </p:nvSpPr>
        <p:spPr>
          <a:xfrm>
            <a:off x="546379" y="1529202"/>
            <a:ext cx="219018" cy="196513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69" name="Oval 68"/>
          <p:cNvSpPr/>
          <p:nvPr/>
        </p:nvSpPr>
        <p:spPr>
          <a:xfrm>
            <a:off x="546379" y="2137513"/>
            <a:ext cx="195212" cy="191866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70" name="Oval 69"/>
          <p:cNvSpPr/>
          <p:nvPr/>
        </p:nvSpPr>
        <p:spPr>
          <a:xfrm>
            <a:off x="546379" y="3953154"/>
            <a:ext cx="219018" cy="196513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3"/>
                </a:solidFill>
              </a:rPr>
              <a:t>5</a:t>
            </a:r>
          </a:p>
        </p:txBody>
      </p:sp>
      <p:sp>
        <p:nvSpPr>
          <p:cNvPr id="71" name="Oval 70"/>
          <p:cNvSpPr/>
          <p:nvPr/>
        </p:nvSpPr>
        <p:spPr>
          <a:xfrm>
            <a:off x="546379" y="4561466"/>
            <a:ext cx="195212" cy="191866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3"/>
                </a:solidFill>
              </a:rPr>
              <a:t>6</a:t>
            </a:r>
          </a:p>
        </p:txBody>
      </p:sp>
      <p:sp>
        <p:nvSpPr>
          <p:cNvPr id="72" name="Oval 71"/>
          <p:cNvSpPr/>
          <p:nvPr/>
        </p:nvSpPr>
        <p:spPr>
          <a:xfrm>
            <a:off x="546379" y="2741178"/>
            <a:ext cx="219018" cy="196513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3"/>
                </a:solidFill>
              </a:rPr>
              <a:t>3</a:t>
            </a:r>
          </a:p>
        </p:txBody>
      </p:sp>
      <p:sp>
        <p:nvSpPr>
          <p:cNvPr id="73" name="Oval 72"/>
          <p:cNvSpPr/>
          <p:nvPr/>
        </p:nvSpPr>
        <p:spPr>
          <a:xfrm>
            <a:off x="546379" y="3349490"/>
            <a:ext cx="195212" cy="191866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3"/>
                </a:solidFill>
              </a:rPr>
              <a:t>4</a:t>
            </a:r>
          </a:p>
        </p:txBody>
      </p:sp>
      <p:sp>
        <p:nvSpPr>
          <p:cNvPr id="74" name="Oval 73"/>
          <p:cNvSpPr/>
          <p:nvPr/>
        </p:nvSpPr>
        <p:spPr>
          <a:xfrm>
            <a:off x="546379" y="5165129"/>
            <a:ext cx="195212" cy="191866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1"/>
                </a:solidFill>
              </a:rPr>
              <a:t>7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793964" y="2063676"/>
            <a:ext cx="6076533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Abstracts common logic for view (i18n &amp; configuration merge &amp; relate to store)</a:t>
            </a:r>
            <a:br>
              <a:rPr lang="en-US" sz="1200" dirty="0">
                <a:solidFill>
                  <a:schemeClr val="tx2"/>
                </a:solidFill>
              </a:rPr>
            </a:br>
            <a:r>
              <a:rPr lang="en-US" sz="1200" b="1" dirty="0">
                <a:solidFill>
                  <a:srgbClr val="7030A0"/>
                </a:solidFill>
              </a:rPr>
              <a:t>making it more standardized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793964" y="1458226"/>
            <a:ext cx="6076533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HTML via JSX notations; no business logic </a:t>
            </a:r>
            <a:r>
              <a:rPr lang="en-US" sz="1200" b="1" dirty="0">
                <a:solidFill>
                  <a:srgbClr val="7030A0"/>
                </a:solidFill>
              </a:rPr>
              <a:t>making it lighter, UI focused, easily replaceable.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793964" y="2669126"/>
            <a:ext cx="6076533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Dispatches actions to manipulate store or fetch/update backend services. Part of Client SDK </a:t>
            </a:r>
            <a:r>
              <a:rPr lang="en-US" sz="1200" b="1" dirty="0">
                <a:solidFill>
                  <a:srgbClr val="7030A0"/>
                </a:solidFill>
              </a:rPr>
              <a:t>to keep business logic separate.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793964" y="3880027"/>
            <a:ext cx="6076533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Application state stored at single place as immutable Simple JS object which becomes single source of truth </a:t>
            </a:r>
            <a:r>
              <a:rPr lang="en-US" sz="1200" b="1" dirty="0">
                <a:solidFill>
                  <a:srgbClr val="7030A0"/>
                </a:solidFill>
              </a:rPr>
              <a:t>making it easy to maintain</a:t>
            </a:r>
            <a:r>
              <a:rPr lang="en-US" sz="1200" dirty="0">
                <a:solidFill>
                  <a:schemeClr val="tx2"/>
                </a:solidFill>
              </a:rPr>
              <a:t>. </a:t>
            </a:r>
            <a:r>
              <a:rPr lang="en-US" sz="1200" dirty="0">
                <a:solidFill>
                  <a:schemeClr val="tx2"/>
                </a:solidFill>
                <a:hlinkClick r:id="" action="ppaction://noaction"/>
              </a:rPr>
              <a:t>&gt;&gt;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793964" y="3274577"/>
            <a:ext cx="6076533" cy="646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Introduced </a:t>
            </a:r>
            <a:r>
              <a:rPr lang="en-US" sz="1200" dirty="0">
                <a:solidFill>
                  <a:schemeClr val="tx2"/>
                </a:solidFill>
              </a:rPr>
              <a:t>to Intercept dispatch &amp; manipulate Store </a:t>
            </a:r>
            <a:r>
              <a:rPr lang="en-US" sz="1200" dirty="0">
                <a:solidFill>
                  <a:srgbClr val="7030A0"/>
                </a:solidFill>
              </a:rPr>
              <a:t>taking more responsibility of managing the state as per standard design patterns keeping it </a:t>
            </a:r>
            <a:r>
              <a:rPr lang="en-US" sz="1200" b="1" dirty="0">
                <a:solidFill>
                  <a:srgbClr val="7030A0"/>
                </a:solidFill>
              </a:rPr>
              <a:t>less proprietary.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793964" y="4485477"/>
            <a:ext cx="6076533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Expose JS APIs to REST service AJAX calls (URIs, Payloads) </a:t>
            </a:r>
            <a:r>
              <a:rPr lang="en-US" sz="1200" dirty="0"/>
              <a:t>independent module </a:t>
            </a:r>
            <a:r>
              <a:rPr lang="en-US" sz="1200" b="1" dirty="0">
                <a:solidFill>
                  <a:srgbClr val="7030A0"/>
                </a:solidFill>
              </a:rPr>
              <a:t>making it easier to customize with lesser lines of code</a:t>
            </a:r>
            <a:r>
              <a:rPr lang="en-US" sz="1200" dirty="0">
                <a:solidFill>
                  <a:srgbClr val="0070C0"/>
                </a:solidFill>
              </a:rPr>
              <a:t>.</a:t>
            </a:r>
            <a:endParaRPr lang="en-US" sz="1200" dirty="0">
              <a:solidFill>
                <a:srgbClr val="7030A0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793964" y="5090928"/>
            <a:ext cx="6076533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Introduced </a:t>
            </a:r>
            <a:r>
              <a:rPr lang="en-US" sz="1200" dirty="0">
                <a:solidFill>
                  <a:schemeClr val="tx2"/>
                </a:solidFill>
              </a:rPr>
              <a:t>experience APIs acting as a contract b/w UI and backend systems </a:t>
            </a:r>
            <a:r>
              <a:rPr lang="en-US" sz="1200" b="1" dirty="0">
                <a:solidFill>
                  <a:srgbClr val="7030A0"/>
                </a:solidFill>
              </a:rPr>
              <a:t>making it backend technology agnostic.</a:t>
            </a:r>
          </a:p>
        </p:txBody>
      </p:sp>
      <p:sp>
        <p:nvSpPr>
          <p:cNvPr id="82" name="Oval 81"/>
          <p:cNvSpPr/>
          <p:nvPr/>
        </p:nvSpPr>
        <p:spPr>
          <a:xfrm>
            <a:off x="11807922" y="1942949"/>
            <a:ext cx="219018" cy="196513"/>
          </a:xfrm>
          <a:prstGeom prst="ellipse">
            <a:avLst/>
          </a:pr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8</a:t>
            </a:r>
          </a:p>
        </p:txBody>
      </p:sp>
      <p:sp>
        <p:nvSpPr>
          <p:cNvPr id="83" name="Oval 82"/>
          <p:cNvSpPr/>
          <p:nvPr/>
        </p:nvSpPr>
        <p:spPr>
          <a:xfrm>
            <a:off x="543416" y="5842992"/>
            <a:ext cx="195212" cy="191866"/>
          </a:xfrm>
          <a:prstGeom prst="ellipse">
            <a:avLst/>
          </a:prstGeom>
          <a:noFill/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8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791001" y="5768792"/>
            <a:ext cx="6076533" cy="646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Introduced</a:t>
            </a:r>
            <a:r>
              <a:rPr lang="en-US" sz="1200" dirty="0">
                <a:solidFill>
                  <a:srgbClr val="0070C0"/>
                </a:solidFill>
              </a:rPr>
              <a:t> </a:t>
            </a:r>
            <a:r>
              <a:rPr lang="en-US" sz="1200" dirty="0">
                <a:solidFill>
                  <a:schemeClr val="tx2"/>
                </a:solidFill>
              </a:rPr>
              <a:t>to provide </a:t>
            </a:r>
            <a:r>
              <a:rPr lang="en-US" sz="1200" dirty="0"/>
              <a:t>publisher/subscriber functionality to allow external applications to connect to our the state </a:t>
            </a:r>
            <a:r>
              <a:rPr lang="en-US" sz="1200" dirty="0" err="1"/>
              <a:t>mgmt</a:t>
            </a:r>
            <a:r>
              <a:rPr lang="en-US" sz="1200" dirty="0"/>
              <a:t> </a:t>
            </a:r>
            <a:r>
              <a:rPr lang="en-US" sz="1200" b="1" dirty="0">
                <a:solidFill>
                  <a:srgbClr val="7030A0"/>
                </a:solidFill>
              </a:rPr>
              <a:t>making it a standard way of communication</a:t>
            </a:r>
          </a:p>
        </p:txBody>
      </p:sp>
      <p:cxnSp>
        <p:nvCxnSpPr>
          <p:cNvPr id="56" name="Straight Arrow Connector 55"/>
          <p:cNvCxnSpPr>
            <a:endCxn id="9" idx="2"/>
          </p:cNvCxnSpPr>
          <p:nvPr/>
        </p:nvCxnSpPr>
        <p:spPr>
          <a:xfrm flipH="1" flipV="1">
            <a:off x="9803434" y="2504802"/>
            <a:ext cx="3400" cy="173779"/>
          </a:xfrm>
          <a:prstGeom prst="straightConnector1">
            <a:avLst/>
          </a:prstGeom>
          <a:ln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Elbow Connector 62"/>
          <p:cNvCxnSpPr>
            <a:stCxn id="13" idx="0"/>
          </p:cNvCxnSpPr>
          <p:nvPr/>
        </p:nvCxnSpPr>
        <p:spPr>
          <a:xfrm rot="5400000" flipH="1" flipV="1">
            <a:off x="9178384" y="3386516"/>
            <a:ext cx="1253500" cy="3400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>
            <a:stCxn id="9" idx="0"/>
            <a:endCxn id="8" idx="2"/>
          </p:cNvCxnSpPr>
          <p:nvPr/>
        </p:nvCxnSpPr>
        <p:spPr>
          <a:xfrm flipV="1">
            <a:off x="9803434" y="2044813"/>
            <a:ext cx="0" cy="186655"/>
          </a:xfrm>
          <a:prstGeom prst="straightConnector1">
            <a:avLst/>
          </a:prstGeom>
          <a:ln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>
          <a:xfrm>
            <a:off x="9470996" y="2543778"/>
            <a:ext cx="1027240" cy="261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tx2"/>
                </a:solidFill>
              </a:rPr>
              <a:t>Connect</a:t>
            </a:r>
          </a:p>
        </p:txBody>
      </p:sp>
    </p:spTree>
    <p:extLst>
      <p:ext uri="{BB962C8B-B14F-4D97-AF65-F5344CB8AC3E}">
        <p14:creationId xmlns:p14="http://schemas.microsoft.com/office/powerpoint/2010/main" val="3720816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dget consumption using Javascrip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6314" y="1441549"/>
            <a:ext cx="5094548" cy="4199431"/>
          </a:xfrm>
          <a:prstGeom prst="rect">
            <a:avLst/>
          </a:prstGeom>
        </p:spPr>
      </p:pic>
      <p:sp>
        <p:nvSpPr>
          <p:cNvPr id="7" name="Rectangular Callout 6"/>
          <p:cNvSpPr/>
          <p:nvPr/>
        </p:nvSpPr>
        <p:spPr>
          <a:xfrm>
            <a:off x="8712189" y="1227795"/>
            <a:ext cx="2225677" cy="850010"/>
          </a:xfrm>
          <a:prstGeom prst="wedgeRectCallout">
            <a:avLst>
              <a:gd name="adj1" fmla="val -83995"/>
              <a:gd name="adj2" fmla="val 3457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dirty="0">
                <a:solidFill>
                  <a:schemeClr val="tx1"/>
                </a:solidFill>
              </a:rPr>
              <a:t>Import to Amdocs SDK library</a:t>
            </a:r>
          </a:p>
        </p:txBody>
      </p:sp>
      <p:sp>
        <p:nvSpPr>
          <p:cNvPr id="8" name="Rectangular Callout 7"/>
          <p:cNvSpPr/>
          <p:nvPr/>
        </p:nvSpPr>
        <p:spPr>
          <a:xfrm>
            <a:off x="8656057" y="2542904"/>
            <a:ext cx="2281810" cy="858028"/>
          </a:xfrm>
          <a:prstGeom prst="wedgeRectCallout">
            <a:avLst>
              <a:gd name="adj1" fmla="val -113250"/>
              <a:gd name="adj2" fmla="val 8400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dirty="0">
                <a:solidFill>
                  <a:schemeClr val="tx1"/>
                </a:solidFill>
              </a:rPr>
              <a:t>Name of the widget to render</a:t>
            </a:r>
          </a:p>
        </p:txBody>
      </p:sp>
      <p:sp>
        <p:nvSpPr>
          <p:cNvPr id="9" name="Rectangular Callout 8"/>
          <p:cNvSpPr/>
          <p:nvPr/>
        </p:nvSpPr>
        <p:spPr>
          <a:xfrm>
            <a:off x="774504" y="2542904"/>
            <a:ext cx="2281810" cy="858028"/>
          </a:xfrm>
          <a:prstGeom prst="wedgeRectCallout">
            <a:avLst>
              <a:gd name="adj1" fmla="val 98311"/>
              <a:gd name="adj2" fmla="val 6157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dirty="0">
                <a:solidFill>
                  <a:schemeClr val="tx1"/>
                </a:solidFill>
              </a:rPr>
              <a:t>Command to render widgets</a:t>
            </a:r>
          </a:p>
        </p:txBody>
      </p:sp>
      <p:sp>
        <p:nvSpPr>
          <p:cNvPr id="10" name="Rectangular Callout 9"/>
          <p:cNvSpPr/>
          <p:nvPr/>
        </p:nvSpPr>
        <p:spPr>
          <a:xfrm>
            <a:off x="8656057" y="3616054"/>
            <a:ext cx="2281810" cy="858028"/>
          </a:xfrm>
          <a:prstGeom prst="wedgeRectCallout">
            <a:avLst>
              <a:gd name="adj1" fmla="val -137147"/>
              <a:gd name="adj2" fmla="val -851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dirty="0">
                <a:solidFill>
                  <a:schemeClr val="tx1"/>
                </a:solidFill>
              </a:rPr>
              <a:t>Property information to pass to the widget</a:t>
            </a:r>
          </a:p>
        </p:txBody>
      </p:sp>
      <p:sp>
        <p:nvSpPr>
          <p:cNvPr id="11" name="Rectangular Callout 10"/>
          <p:cNvSpPr/>
          <p:nvPr/>
        </p:nvSpPr>
        <p:spPr>
          <a:xfrm>
            <a:off x="8656056" y="4782952"/>
            <a:ext cx="2281810" cy="858028"/>
          </a:xfrm>
          <a:prstGeom prst="wedgeRectCallout">
            <a:avLst>
              <a:gd name="adj1" fmla="val -165964"/>
              <a:gd name="adj2" fmla="val -9543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dirty="0">
                <a:solidFill>
                  <a:schemeClr val="tx1"/>
                </a:solidFill>
              </a:rPr>
              <a:t>Configuration data to pass to the widget</a:t>
            </a:r>
          </a:p>
        </p:txBody>
      </p:sp>
    </p:spTree>
    <p:extLst>
      <p:ext uri="{BB962C8B-B14F-4D97-AF65-F5344CB8AC3E}">
        <p14:creationId xmlns:p14="http://schemas.microsoft.com/office/powerpoint/2010/main" val="367111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378" y="1445809"/>
            <a:ext cx="7960826" cy="40946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DK consumption</a:t>
            </a:r>
          </a:p>
        </p:txBody>
      </p:sp>
      <p:sp>
        <p:nvSpPr>
          <p:cNvPr id="7" name="Rectangular Callout 6"/>
          <p:cNvSpPr/>
          <p:nvPr/>
        </p:nvSpPr>
        <p:spPr>
          <a:xfrm>
            <a:off x="9097098" y="1307985"/>
            <a:ext cx="2225677" cy="850010"/>
          </a:xfrm>
          <a:prstGeom prst="wedgeRectCallout">
            <a:avLst>
              <a:gd name="adj1" fmla="val -134436"/>
              <a:gd name="adj2" fmla="val 5880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>
                <a:solidFill>
                  <a:schemeClr val="tx1"/>
                </a:solidFill>
              </a:rPr>
              <a:t>Import Amdocs </a:t>
            </a:r>
            <a:r>
              <a:rPr lang="en-US" sz="1799" dirty="0">
                <a:solidFill>
                  <a:schemeClr val="tx1"/>
                </a:solidFill>
              </a:rPr>
              <a:t>SDK library</a:t>
            </a:r>
          </a:p>
        </p:txBody>
      </p:sp>
      <p:sp>
        <p:nvSpPr>
          <p:cNvPr id="8" name="Rectangular Callout 7"/>
          <p:cNvSpPr/>
          <p:nvPr/>
        </p:nvSpPr>
        <p:spPr>
          <a:xfrm>
            <a:off x="9097099" y="2461324"/>
            <a:ext cx="2225677" cy="850010"/>
          </a:xfrm>
          <a:prstGeom prst="wedgeRectCallout">
            <a:avLst>
              <a:gd name="adj1" fmla="val -179180"/>
              <a:gd name="adj2" fmla="val 1812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>
                <a:solidFill>
                  <a:schemeClr val="tx1"/>
                </a:solidFill>
              </a:rPr>
              <a:t>Get SDK instance</a:t>
            </a:r>
            <a:endParaRPr lang="en-US" sz="1799" dirty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9097098" y="3527847"/>
            <a:ext cx="2225677" cy="850010"/>
          </a:xfrm>
          <a:prstGeom prst="wedgeRectCallout">
            <a:avLst>
              <a:gd name="adj1" fmla="val -224689"/>
              <a:gd name="adj2" fmla="val -26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>
                <a:solidFill>
                  <a:schemeClr val="tx1"/>
                </a:solidFill>
              </a:rPr>
              <a:t>Get UserManagementAPI instance</a:t>
            </a:r>
            <a:endParaRPr lang="en-US" sz="1799" dirty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9097097" y="4538237"/>
            <a:ext cx="2225677" cy="1209472"/>
          </a:xfrm>
          <a:prstGeom prst="wedgeRectCallout">
            <a:avLst>
              <a:gd name="adj1" fmla="val -180553"/>
              <a:gd name="adj2" fmla="val -3962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>
                <a:solidFill>
                  <a:schemeClr val="tx1"/>
                </a:solidFill>
              </a:rPr>
              <a:t>Invoke an action to make user login</a:t>
            </a:r>
            <a:endParaRPr lang="en-US" sz="1799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02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DK consumption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569" y="1307984"/>
            <a:ext cx="7252938" cy="5083772"/>
          </a:xfrm>
          <a:prstGeom prst="rect">
            <a:avLst/>
          </a:prstGeom>
        </p:spPr>
      </p:pic>
      <p:sp>
        <p:nvSpPr>
          <p:cNvPr id="7" name="Rectangular Callout 6"/>
          <p:cNvSpPr/>
          <p:nvPr/>
        </p:nvSpPr>
        <p:spPr>
          <a:xfrm>
            <a:off x="9097098" y="1307985"/>
            <a:ext cx="2225677" cy="850010"/>
          </a:xfrm>
          <a:prstGeom prst="wedgeRectCallout">
            <a:avLst>
              <a:gd name="adj1" fmla="val -271347"/>
              <a:gd name="adj2" fmla="val -504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dirty="0">
                <a:solidFill>
                  <a:schemeClr val="tx1"/>
                </a:solidFill>
              </a:rPr>
              <a:t>Import to Amdocs SDK library</a:t>
            </a:r>
          </a:p>
        </p:txBody>
      </p:sp>
      <p:sp>
        <p:nvSpPr>
          <p:cNvPr id="8" name="Rectangular Callout 7"/>
          <p:cNvSpPr/>
          <p:nvPr/>
        </p:nvSpPr>
        <p:spPr>
          <a:xfrm>
            <a:off x="9097099" y="2461324"/>
            <a:ext cx="2225677" cy="850010"/>
          </a:xfrm>
          <a:prstGeom prst="wedgeRectCallout">
            <a:avLst>
              <a:gd name="adj1" fmla="val -288281"/>
              <a:gd name="adj2" fmla="val -316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dirty="0">
                <a:solidFill>
                  <a:schemeClr val="tx1"/>
                </a:solidFill>
              </a:rPr>
              <a:t>Subscribe to data change event</a:t>
            </a:r>
          </a:p>
        </p:txBody>
      </p:sp>
      <p:sp>
        <p:nvSpPr>
          <p:cNvPr id="9" name="Rectangular Callout 8"/>
          <p:cNvSpPr/>
          <p:nvPr/>
        </p:nvSpPr>
        <p:spPr>
          <a:xfrm>
            <a:off x="9097098" y="3527847"/>
            <a:ext cx="2225677" cy="850010"/>
          </a:xfrm>
          <a:prstGeom prst="wedgeRectCallout">
            <a:avLst>
              <a:gd name="adj1" fmla="val -132274"/>
              <a:gd name="adj2" fmla="val -2108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dirty="0">
                <a:solidFill>
                  <a:schemeClr val="tx1"/>
                </a:solidFill>
              </a:rPr>
              <a:t>Subscribe to an event</a:t>
            </a:r>
          </a:p>
        </p:txBody>
      </p:sp>
      <p:sp>
        <p:nvSpPr>
          <p:cNvPr id="10" name="Rectangular Callout 9"/>
          <p:cNvSpPr/>
          <p:nvPr/>
        </p:nvSpPr>
        <p:spPr>
          <a:xfrm>
            <a:off x="9097097" y="4538237"/>
            <a:ext cx="2225677" cy="1209472"/>
          </a:xfrm>
          <a:prstGeom prst="wedgeRectCallout">
            <a:avLst>
              <a:gd name="adj1" fmla="val -153171"/>
              <a:gd name="adj2" fmla="val -5221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dirty="0">
                <a:solidFill>
                  <a:schemeClr val="tx1"/>
                </a:solidFill>
              </a:rPr>
              <a:t>Subscribe to an event and perform internal navigation </a:t>
            </a:r>
          </a:p>
        </p:txBody>
      </p:sp>
      <p:sp>
        <p:nvSpPr>
          <p:cNvPr id="11" name="Rectangular Callout 10"/>
          <p:cNvSpPr/>
          <p:nvPr/>
        </p:nvSpPr>
        <p:spPr>
          <a:xfrm>
            <a:off x="6017816" y="5558035"/>
            <a:ext cx="2225677" cy="654773"/>
          </a:xfrm>
          <a:prstGeom prst="wedgeRectCallout">
            <a:avLst>
              <a:gd name="adj1" fmla="val -120384"/>
              <a:gd name="adj2" fmla="val -823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99" dirty="0">
                <a:solidFill>
                  <a:schemeClr val="tx1"/>
                </a:solidFill>
              </a:rPr>
              <a:t>Invoke an action</a:t>
            </a:r>
          </a:p>
        </p:txBody>
      </p:sp>
    </p:spTree>
    <p:extLst>
      <p:ext uri="{BB962C8B-B14F-4D97-AF65-F5344CB8AC3E}">
        <p14:creationId xmlns:p14="http://schemas.microsoft.com/office/powerpoint/2010/main" val="191909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Subtitle 3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4524315"/>
          </a:xfrm>
        </p:spPr>
        <p:txBody>
          <a:bodyPr/>
          <a:lstStyle/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3A69"/>
                </a:solidFill>
              </a:rPr>
              <a:t>Experience Layer </a:t>
            </a:r>
          </a:p>
          <a:p>
            <a:pPr marL="576089" lvl="1" indent="-342797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003A69"/>
                </a:solidFill>
              </a:rPr>
              <a:t>Client side Overview </a:t>
            </a:r>
          </a:p>
          <a:p>
            <a:pPr marL="576089" lvl="1" indent="-342797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003A69"/>
                </a:solidFill>
              </a:rPr>
              <a:t>Technologies 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3A69"/>
                </a:solidFill>
              </a:rPr>
              <a:t>SDK Overview</a:t>
            </a:r>
          </a:p>
          <a:p>
            <a:pPr marL="576089" lvl="1" indent="-342797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003A69"/>
                </a:solidFill>
              </a:rPr>
              <a:t>Concept</a:t>
            </a:r>
          </a:p>
          <a:p>
            <a:pPr marL="576089" lvl="1" indent="-342797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003A69"/>
                </a:solidFill>
              </a:rPr>
              <a:t>Functional flow example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3A69"/>
                </a:solidFill>
              </a:rPr>
              <a:t>Experience layer server side components 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3A69"/>
                </a:solidFill>
              </a:rPr>
              <a:t>Widgets Overview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3A69"/>
                </a:solidFill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179736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65682" y="1387936"/>
            <a:ext cx="4374011" cy="1846659"/>
          </a:xfrm>
        </p:spPr>
        <p:txBody>
          <a:bodyPr/>
          <a:lstStyle/>
          <a:p>
            <a:r>
              <a:rPr lang="en-US" sz="4000" dirty="0">
                <a:solidFill>
                  <a:srgbClr val="003A69"/>
                </a:solidFill>
              </a:rPr>
              <a:t>Experience layer server side components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body" idx="1"/>
          </p:nvPr>
        </p:nvSpPr>
        <p:spPr>
          <a:xfrm>
            <a:off x="7265682" y="4026453"/>
            <a:ext cx="4374010" cy="307648"/>
          </a:xfrm>
        </p:spPr>
        <p:txBody>
          <a:bodyPr/>
          <a:lstStyle/>
          <a:p>
            <a:pPr marL="342797" indent="-342797">
              <a:buFont typeface="Arial" panose="020B0604020202020204" pitchFamily="34" charset="0"/>
              <a:buChar char="•"/>
            </a:pP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07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378" y="450153"/>
            <a:ext cx="11088784" cy="553870"/>
          </a:xfrm>
        </p:spPr>
        <p:txBody>
          <a:bodyPr/>
          <a:lstStyle/>
          <a:p>
            <a:r>
              <a:rPr lang="en-US" dirty="0"/>
              <a:t>Service components Overview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378" y="1402699"/>
            <a:ext cx="11088784" cy="2908489"/>
          </a:xfrm>
        </p:spPr>
        <p:txBody>
          <a:bodyPr/>
          <a:lstStyle/>
          <a:p>
            <a:r>
              <a:rPr lang="en-US" sz="2400" dirty="0"/>
              <a:t>There are 2 possible implementations to connect the experience layer client side components to the server side:</a:t>
            </a:r>
          </a:p>
          <a:p>
            <a:pPr lvl="1"/>
            <a:r>
              <a:rPr lang="en-US" sz="2200" dirty="0"/>
              <a:t>Using </a:t>
            </a:r>
            <a:r>
              <a:rPr lang="en-US" sz="2200" b="1" dirty="0"/>
              <a:t>digital experience server </a:t>
            </a:r>
            <a:r>
              <a:rPr lang="en-US" sz="2200" dirty="0"/>
              <a:t>on top of CES</a:t>
            </a:r>
          </a:p>
          <a:p>
            <a:pPr lvl="1"/>
            <a:r>
              <a:rPr lang="en-US" sz="2200" dirty="0"/>
              <a:t>Using the </a:t>
            </a:r>
            <a:r>
              <a:rPr lang="en-US" sz="2200" b="1" dirty="0"/>
              <a:t>translation layer </a:t>
            </a:r>
            <a:r>
              <a:rPr lang="en-US" sz="2200" dirty="0"/>
              <a:t>on top of the MSs</a:t>
            </a:r>
          </a:p>
          <a:p>
            <a:r>
              <a:rPr lang="en-US" sz="2400" dirty="0"/>
              <a:t>The idea is that the same REST endpoint will be exposed in both components and the client side is not aware what is the implementation 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173985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Rectangle 147"/>
          <p:cNvSpPr/>
          <p:nvPr/>
        </p:nvSpPr>
        <p:spPr>
          <a:xfrm>
            <a:off x="3129371" y="1807808"/>
            <a:ext cx="8044006" cy="746122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UXF 1.5 Common UX Libraries (widgets &amp; SDK modules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gital stack and CES</a:t>
            </a:r>
            <a:endParaRPr lang="en-US" dirty="0"/>
          </a:p>
        </p:txBody>
      </p:sp>
      <p:sp>
        <p:nvSpPr>
          <p:cNvPr id="101" name="Content Placeholder 1"/>
          <p:cNvSpPr txBox="1">
            <a:spLocks/>
          </p:cNvSpPr>
          <p:nvPr/>
        </p:nvSpPr>
        <p:spPr>
          <a:xfrm>
            <a:off x="609442" y="1268419"/>
            <a:ext cx="10969943" cy="47132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7257" indent="-287257" algn="l" defTabSz="457071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lang="ga-IE" sz="2399" b="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15791" indent="-228535" algn="l" defTabSz="457071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lang="ga-IE" sz="1999" b="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5605" indent="-169815" algn="l" defTabSz="457071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lang="ga-IE" sz="1799" b="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5728" indent="-231709" algn="l" defTabSz="457071" rtl="0" eaLnBrk="1" latinLnBrk="0" hangingPunct="1">
              <a:spcBef>
                <a:spcPct val="20000"/>
              </a:spcBef>
              <a:buClr>
                <a:schemeClr val="accent2"/>
              </a:buClr>
              <a:buSzPct val="85000"/>
              <a:buFont typeface="Arial" pitchFamily="34" charset="0"/>
              <a:buChar char="●"/>
              <a:defRPr lang="ga-IE" sz="1600" b="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4264" indent="-230123" algn="l" defTabSz="457071" rtl="0" eaLnBrk="1" latinLnBrk="0" hangingPunct="1">
              <a:spcBef>
                <a:spcPct val="20000"/>
              </a:spcBef>
              <a:buClr>
                <a:schemeClr val="accent2"/>
              </a:buClr>
              <a:buSzPct val="85000"/>
              <a:buFont typeface="Arial" pitchFamily="34" charset="0"/>
              <a:buChar char="●"/>
              <a:defRPr lang="en-US" sz="1400" b="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88" indent="-228535" algn="l" defTabSz="457071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57" indent="-228535" algn="l" defTabSz="457071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028" indent="-228535" algn="l" defTabSz="457071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99" indent="-228535" algn="l" defTabSz="457071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257" marR="0" lvl="0" indent="-287257" algn="l" defTabSz="457071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63BE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srgbClr val="4D4E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6087651" y="5008253"/>
            <a:ext cx="5102797" cy="1297102"/>
            <a:chOff x="6423471" y="5273840"/>
            <a:chExt cx="4811376" cy="1297440"/>
          </a:xfrm>
        </p:grpSpPr>
        <p:sp>
          <p:nvSpPr>
            <p:cNvPr id="130" name="Rectangle 129"/>
            <p:cNvSpPr>
              <a:spLocks noChangeArrowheads="1"/>
            </p:cNvSpPr>
            <p:nvPr/>
          </p:nvSpPr>
          <p:spPr bwMode="auto">
            <a:xfrm>
              <a:off x="6423471" y="5273840"/>
              <a:ext cx="4811376" cy="1297440"/>
            </a:xfrm>
            <a:prstGeom prst="rect">
              <a:avLst/>
            </a:prstGeom>
            <a:solidFill>
              <a:srgbClr val="0063BE">
                <a:lumMod val="75000"/>
              </a:srgbClr>
            </a:solidFill>
            <a:ln>
              <a:noFill/>
            </a:ln>
            <a:extLst/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Calibri" pitchFamily="34" charset="0"/>
                </a:rPr>
                <a:t>CES</a:t>
              </a: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6621276" y="5686485"/>
              <a:ext cx="1274210" cy="472147"/>
            </a:xfrm>
            <a:prstGeom prst="rect">
              <a:avLst/>
            </a:prstGeom>
            <a:solidFill>
              <a:srgbClr val="0063B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CRM</a:t>
              </a:r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8071979" y="5686485"/>
              <a:ext cx="1208995" cy="472147"/>
            </a:xfrm>
            <a:prstGeom prst="rect">
              <a:avLst/>
            </a:prstGeom>
            <a:solidFill>
              <a:srgbClr val="0063B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Billing </a:t>
              </a: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9442430" y="5686485"/>
              <a:ext cx="1615608" cy="472147"/>
            </a:xfrm>
            <a:prstGeom prst="rect">
              <a:avLst/>
            </a:prstGeom>
            <a:solidFill>
              <a:srgbClr val="0063B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Assigned product management </a:t>
              </a:r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3129371" y="2847758"/>
            <a:ext cx="8044006" cy="1643669"/>
            <a:chOff x="2452100" y="3091991"/>
            <a:chExt cx="5386595" cy="1644097"/>
          </a:xfrm>
        </p:grpSpPr>
        <p:sp>
          <p:nvSpPr>
            <p:cNvPr id="140" name="Rectangle 139"/>
            <p:cNvSpPr>
              <a:spLocks noChangeArrowheads="1"/>
            </p:cNvSpPr>
            <p:nvPr/>
          </p:nvSpPr>
          <p:spPr bwMode="auto">
            <a:xfrm>
              <a:off x="2452100" y="3091991"/>
              <a:ext cx="5386595" cy="1644097"/>
            </a:xfrm>
            <a:prstGeom prst="rect">
              <a:avLst/>
            </a:prstGeom>
            <a:solidFill>
              <a:srgbClr val="0063BE">
                <a:lumMod val="75000"/>
              </a:srgbClr>
            </a:solidFill>
            <a:ln>
              <a:noFill/>
            </a:ln>
            <a:extLst/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Calibri" pitchFamily="34" charset="0"/>
                </a:rPr>
                <a:t>Digital experience server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5744502" y="3710403"/>
              <a:ext cx="1970493" cy="558131"/>
            </a:xfrm>
            <a:prstGeom prst="rect">
              <a:avLst/>
            </a:prstGeom>
            <a:solidFill>
              <a:srgbClr val="0063B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OMNI channel framework </a:t>
              </a: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2720825" y="3710404"/>
              <a:ext cx="2843540" cy="558130"/>
            </a:xfrm>
            <a:prstGeom prst="rect">
              <a:avLst/>
            </a:prstGeom>
            <a:solidFill>
              <a:srgbClr val="0063B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service implementation </a:t>
              </a:r>
            </a:p>
          </p:txBody>
        </p:sp>
        <p:sp>
          <p:nvSpPr>
            <p:cNvPr id="144" name="Rectangle 143"/>
            <p:cNvSpPr/>
            <p:nvPr/>
          </p:nvSpPr>
          <p:spPr>
            <a:xfrm>
              <a:off x="2720825" y="3331376"/>
              <a:ext cx="2843541" cy="308399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UXF 1.5 Common UX Libraries  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(Care, Commerce, etc.)</a:t>
              </a:r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5744502" y="3305005"/>
              <a:ext cx="1970493" cy="300887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Experience service signatures</a:t>
              </a:r>
            </a:p>
          </p:txBody>
        </p:sp>
        <p:sp>
          <p:nvSpPr>
            <p:cNvPr id="147" name="Rectangle 146"/>
            <p:cNvSpPr>
              <a:spLocks noChangeArrowheads="1"/>
            </p:cNvSpPr>
            <p:nvPr/>
          </p:nvSpPr>
          <p:spPr bwMode="auto">
            <a:xfrm rot="10800000" flipV="1">
              <a:off x="2720825" y="4339162"/>
              <a:ext cx="4994170" cy="2880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/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Calibri" pitchFamily="34" charset="0"/>
                </a:rPr>
                <a:t>Any backend adaptor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pitchFamily="34" charset="0"/>
              </a:endParaRPr>
            </a:p>
          </p:txBody>
        </p:sp>
      </p:grpSp>
      <p:sp>
        <p:nvSpPr>
          <p:cNvPr id="158" name="Rectangle 157"/>
          <p:cNvSpPr>
            <a:spLocks noChangeArrowheads="1"/>
          </p:cNvSpPr>
          <p:nvPr/>
        </p:nvSpPr>
        <p:spPr bwMode="auto">
          <a:xfrm>
            <a:off x="3384565" y="1446100"/>
            <a:ext cx="1835618" cy="507959"/>
          </a:xfrm>
          <a:prstGeom prst="rect">
            <a:avLst/>
          </a:prstGeom>
          <a:solidFill>
            <a:srgbClr val="004A8E"/>
          </a:solidFill>
          <a:ln>
            <a:noFill/>
          </a:ln>
          <a:extLst/>
        </p:spPr>
        <p:txBody>
          <a:bodyPr vert="horz" wrap="square" lIns="91416" tIns="45708" rIns="91416" bIns="4570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Self service application / portal</a:t>
            </a:r>
          </a:p>
        </p:txBody>
      </p:sp>
      <p:sp>
        <p:nvSpPr>
          <p:cNvPr id="159" name="Rectangle 158"/>
          <p:cNvSpPr>
            <a:spLocks noChangeArrowheads="1"/>
          </p:cNvSpPr>
          <p:nvPr/>
        </p:nvSpPr>
        <p:spPr bwMode="auto">
          <a:xfrm>
            <a:off x="5544602" y="1464937"/>
            <a:ext cx="2608098" cy="507959"/>
          </a:xfrm>
          <a:prstGeom prst="rect">
            <a:avLst/>
          </a:prstGeom>
          <a:solidFill>
            <a:srgbClr val="004A8E"/>
          </a:solidFill>
          <a:ln>
            <a:noFill/>
          </a:ln>
          <a:extLst/>
        </p:spPr>
        <p:txBody>
          <a:bodyPr vert="horz" wrap="square" lIns="91416" tIns="45708" rIns="91416" bIns="4570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799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Retail application</a:t>
            </a:r>
          </a:p>
        </p:txBody>
      </p:sp>
      <p:sp>
        <p:nvSpPr>
          <p:cNvPr id="167" name="Rectangle 166"/>
          <p:cNvSpPr>
            <a:spLocks noChangeArrowheads="1"/>
          </p:cNvSpPr>
          <p:nvPr/>
        </p:nvSpPr>
        <p:spPr bwMode="auto">
          <a:xfrm>
            <a:off x="3129371" y="5005237"/>
            <a:ext cx="2748430" cy="1297102"/>
          </a:xfrm>
          <a:prstGeom prst="rect">
            <a:avLst/>
          </a:prstGeom>
          <a:solidFill>
            <a:srgbClr val="0063BE">
              <a:lumMod val="75000"/>
            </a:srgbClr>
          </a:solidFill>
          <a:ln>
            <a:noFill/>
          </a:ln>
          <a:ex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Calibri" pitchFamily="34" charset="0"/>
              </a:rPr>
              <a:t>Ensemble / KC1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69" name="Rectangle 168"/>
          <p:cNvSpPr>
            <a:spLocks noChangeArrowheads="1"/>
          </p:cNvSpPr>
          <p:nvPr/>
        </p:nvSpPr>
        <p:spPr bwMode="auto">
          <a:xfrm>
            <a:off x="8477119" y="1435103"/>
            <a:ext cx="2608098" cy="507959"/>
          </a:xfrm>
          <a:prstGeom prst="rect">
            <a:avLst/>
          </a:prstGeom>
          <a:solidFill>
            <a:srgbClr val="004A8E"/>
          </a:solidFill>
          <a:ln>
            <a:noFill/>
          </a:ln>
          <a:extLst/>
        </p:spPr>
        <p:txBody>
          <a:bodyPr vert="horz" wrap="square" lIns="91416" tIns="45708" rIns="91416" bIns="4570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799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Engagement center (call center) application</a:t>
            </a:r>
          </a:p>
        </p:txBody>
      </p:sp>
      <p:sp>
        <p:nvSpPr>
          <p:cNvPr id="17" name="Down Arrow 16"/>
          <p:cNvSpPr/>
          <p:nvPr/>
        </p:nvSpPr>
        <p:spPr>
          <a:xfrm>
            <a:off x="6233984" y="2553930"/>
            <a:ext cx="661307" cy="368884"/>
          </a:xfrm>
          <a:prstGeom prst="downArrow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70" name="Down Arrow 169"/>
          <p:cNvSpPr/>
          <p:nvPr/>
        </p:nvSpPr>
        <p:spPr>
          <a:xfrm>
            <a:off x="4172932" y="4469179"/>
            <a:ext cx="661307" cy="536058"/>
          </a:xfrm>
          <a:prstGeom prst="downArrow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71" name="Down Arrow 170"/>
          <p:cNvSpPr/>
          <p:nvPr/>
        </p:nvSpPr>
        <p:spPr>
          <a:xfrm>
            <a:off x="8146465" y="4484246"/>
            <a:ext cx="661307" cy="536058"/>
          </a:xfrm>
          <a:prstGeom prst="downArrow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8" name="Left Brace 17"/>
          <p:cNvSpPr/>
          <p:nvPr/>
        </p:nvSpPr>
        <p:spPr>
          <a:xfrm>
            <a:off x="2625051" y="1456336"/>
            <a:ext cx="605481" cy="1166630"/>
          </a:xfrm>
          <a:prstGeom prst="lef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954151" y="1624152"/>
            <a:ext cx="27500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 Channel application</a:t>
            </a:r>
          </a:p>
        </p:txBody>
      </p:sp>
      <p:sp>
        <p:nvSpPr>
          <p:cNvPr id="172" name="Left Brace 171"/>
          <p:cNvSpPr/>
          <p:nvPr/>
        </p:nvSpPr>
        <p:spPr>
          <a:xfrm>
            <a:off x="2641526" y="2679941"/>
            <a:ext cx="605481" cy="2001647"/>
          </a:xfrm>
          <a:prstGeom prst="lef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3" name="TextBox 172"/>
          <p:cNvSpPr txBox="1"/>
          <p:nvPr/>
        </p:nvSpPr>
        <p:spPr>
          <a:xfrm>
            <a:off x="348696" y="2932355"/>
            <a:ext cx="27500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Experience layer server side components </a:t>
            </a:r>
          </a:p>
        </p:txBody>
      </p:sp>
      <p:sp>
        <p:nvSpPr>
          <p:cNvPr id="174" name="Left Brace 173"/>
          <p:cNvSpPr/>
          <p:nvPr/>
        </p:nvSpPr>
        <p:spPr>
          <a:xfrm>
            <a:off x="2542671" y="4908001"/>
            <a:ext cx="605481" cy="1511757"/>
          </a:xfrm>
          <a:prstGeom prst="lef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TextBox 174"/>
          <p:cNvSpPr txBox="1"/>
          <p:nvPr/>
        </p:nvSpPr>
        <p:spPr>
          <a:xfrm>
            <a:off x="780641" y="5402745"/>
            <a:ext cx="27500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BE layer</a:t>
            </a:r>
          </a:p>
        </p:txBody>
      </p:sp>
    </p:spTree>
    <p:extLst>
      <p:ext uri="{BB962C8B-B14F-4D97-AF65-F5344CB8AC3E}">
        <p14:creationId xmlns:p14="http://schemas.microsoft.com/office/powerpoint/2010/main" val="259199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gital stack and CES</a:t>
            </a:r>
            <a:endParaRPr lang="en-US" dirty="0"/>
          </a:p>
        </p:txBody>
      </p:sp>
      <p:sp>
        <p:nvSpPr>
          <p:cNvPr id="101" name="Content Placeholder 1"/>
          <p:cNvSpPr txBox="1">
            <a:spLocks/>
          </p:cNvSpPr>
          <p:nvPr/>
        </p:nvSpPr>
        <p:spPr>
          <a:xfrm>
            <a:off x="609442" y="1268419"/>
            <a:ext cx="10969943" cy="47132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7257" indent="-287257" algn="l" defTabSz="457071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lang="ga-IE" sz="2399" b="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15791" indent="-228535" algn="l" defTabSz="457071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lang="ga-IE" sz="1999" b="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5605" indent="-169815" algn="l" defTabSz="457071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lang="ga-IE" sz="1799" b="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5728" indent="-231709" algn="l" defTabSz="457071" rtl="0" eaLnBrk="1" latinLnBrk="0" hangingPunct="1">
              <a:spcBef>
                <a:spcPct val="20000"/>
              </a:spcBef>
              <a:buClr>
                <a:schemeClr val="accent2"/>
              </a:buClr>
              <a:buSzPct val="85000"/>
              <a:buFont typeface="Arial" pitchFamily="34" charset="0"/>
              <a:buChar char="●"/>
              <a:defRPr lang="ga-IE" sz="1600" b="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4264" indent="-230123" algn="l" defTabSz="457071" rtl="0" eaLnBrk="1" latinLnBrk="0" hangingPunct="1">
              <a:spcBef>
                <a:spcPct val="20000"/>
              </a:spcBef>
              <a:buClr>
                <a:schemeClr val="accent2"/>
              </a:buClr>
              <a:buSzPct val="85000"/>
              <a:buFont typeface="Arial" pitchFamily="34" charset="0"/>
              <a:buChar char="●"/>
              <a:defRPr lang="en-US" sz="1400" b="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88" indent="-228535" algn="l" defTabSz="457071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57" indent="-228535" algn="l" defTabSz="457071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028" indent="-228535" algn="l" defTabSz="457071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99" indent="-228535" algn="l" defTabSz="457071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257" marR="0" lvl="0" indent="-287257" algn="l" defTabSz="457071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0063BE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srgbClr val="4D4E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224781" y="4267116"/>
            <a:ext cx="2867740" cy="2044364"/>
            <a:chOff x="356520" y="4192973"/>
            <a:chExt cx="2867740" cy="2044364"/>
          </a:xfrm>
        </p:grpSpPr>
        <p:sp>
          <p:nvSpPr>
            <p:cNvPr id="151" name="Rectangle 150"/>
            <p:cNvSpPr>
              <a:spLocks noChangeArrowheads="1"/>
            </p:cNvSpPr>
            <p:nvPr/>
          </p:nvSpPr>
          <p:spPr bwMode="auto">
            <a:xfrm>
              <a:off x="356520" y="4192973"/>
              <a:ext cx="2690973" cy="2044364"/>
            </a:xfrm>
            <a:prstGeom prst="rect">
              <a:avLst/>
            </a:prstGeom>
            <a:solidFill>
              <a:srgbClr val="004A8E"/>
            </a:solidFill>
            <a:ln>
              <a:noFill/>
            </a:ln>
            <a:extLst/>
          </p:spPr>
          <p:txBody>
            <a:bodyPr vert="horz" wrap="square" lIns="91416" tIns="45708" rIns="91416" bIns="457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654243" y="4221604"/>
              <a:ext cx="2570017" cy="347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Order capture MS </a:t>
              </a:r>
            </a:p>
          </p:txBody>
        </p:sp>
        <p:sp>
          <p:nvSpPr>
            <p:cNvPr id="154" name="Rectangle 153"/>
            <p:cNvSpPr/>
            <p:nvPr/>
          </p:nvSpPr>
          <p:spPr>
            <a:xfrm>
              <a:off x="477948" y="5166313"/>
              <a:ext cx="2405340" cy="436654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Domain model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463650" y="4597483"/>
              <a:ext cx="2405340" cy="454309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TMF open API 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service signatures</a:t>
              </a:r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477949" y="5696465"/>
              <a:ext cx="2405340" cy="374928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Repositories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7075633" y="4270742"/>
            <a:ext cx="2867740" cy="2044364"/>
            <a:chOff x="356520" y="4192973"/>
            <a:chExt cx="2867740" cy="2044364"/>
          </a:xfrm>
        </p:grpSpPr>
        <p:sp>
          <p:nvSpPr>
            <p:cNvPr id="41" name="Rectangle 40"/>
            <p:cNvSpPr>
              <a:spLocks noChangeArrowheads="1"/>
            </p:cNvSpPr>
            <p:nvPr/>
          </p:nvSpPr>
          <p:spPr bwMode="auto">
            <a:xfrm>
              <a:off x="356520" y="4192973"/>
              <a:ext cx="2690973" cy="2044364"/>
            </a:xfrm>
            <a:prstGeom prst="rect">
              <a:avLst/>
            </a:prstGeom>
            <a:solidFill>
              <a:srgbClr val="004A8E"/>
            </a:solidFill>
            <a:ln>
              <a:noFill/>
            </a:ln>
            <a:extLst/>
          </p:spPr>
          <p:txBody>
            <a:bodyPr vert="horz" wrap="square" lIns="91416" tIns="45708" rIns="91416" bIns="457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654243" y="4221604"/>
              <a:ext cx="2570017" cy="347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Arial"/>
                </a:rPr>
                <a:t>      Care 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MS 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477948" y="5166313"/>
              <a:ext cx="2405340" cy="436654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Domain model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63650" y="4597483"/>
              <a:ext cx="2405340" cy="454309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TMF open API 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service signatures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477949" y="5696465"/>
              <a:ext cx="2405340" cy="374928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Repositories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endParaRPr>
            </a:p>
          </p:txBody>
        </p:sp>
      </p:grpSp>
      <p:sp>
        <p:nvSpPr>
          <p:cNvPr id="46" name="Left Brace 45"/>
          <p:cNvSpPr/>
          <p:nvPr/>
        </p:nvSpPr>
        <p:spPr>
          <a:xfrm>
            <a:off x="2365360" y="4154760"/>
            <a:ext cx="605481" cy="2156720"/>
          </a:xfrm>
          <a:prstGeom prst="lef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/>
          <p:cNvSpPr txBox="1"/>
          <p:nvPr/>
        </p:nvSpPr>
        <p:spPr>
          <a:xfrm>
            <a:off x="175025" y="4888304"/>
            <a:ext cx="27500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MS layer (capability APIs) </a:t>
            </a:r>
          </a:p>
        </p:txBody>
      </p:sp>
      <p:sp>
        <p:nvSpPr>
          <p:cNvPr id="48" name="Rectangle 47"/>
          <p:cNvSpPr/>
          <p:nvPr/>
        </p:nvSpPr>
        <p:spPr>
          <a:xfrm>
            <a:off x="2882238" y="1498885"/>
            <a:ext cx="9091458" cy="746122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UXF 1.5 Common UX Libraries (widgets &amp; SDK modules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50" name="Rectangle 49"/>
          <p:cNvSpPr>
            <a:spLocks noChangeArrowheads="1"/>
          </p:cNvSpPr>
          <p:nvPr/>
        </p:nvSpPr>
        <p:spPr bwMode="auto">
          <a:xfrm>
            <a:off x="2900381" y="2551193"/>
            <a:ext cx="9073315" cy="1369671"/>
          </a:xfrm>
          <a:prstGeom prst="rect">
            <a:avLst/>
          </a:prstGeom>
          <a:solidFill>
            <a:srgbClr val="0063BE">
              <a:lumMod val="75000"/>
            </a:srgbClr>
          </a:solidFill>
          <a:ln>
            <a:noFill/>
          </a:ln>
          <a:ex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Calibri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090707" y="3033519"/>
            <a:ext cx="3233523" cy="664768"/>
          </a:xfrm>
          <a:prstGeom prst="rect">
            <a:avLst/>
          </a:prstGeom>
          <a:solidFill>
            <a:srgbClr val="0063B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Experience model to capability model Mapping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Calibri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10037031" y="2748979"/>
            <a:ext cx="1778425" cy="974098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UXF 1.5 Common UX Libraries 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(Care, Commerce, etc.)</a:t>
            </a:r>
          </a:p>
        </p:txBody>
      </p:sp>
      <p:sp>
        <p:nvSpPr>
          <p:cNvPr id="56" name="Rectangle 55"/>
          <p:cNvSpPr>
            <a:spLocks noChangeArrowheads="1"/>
          </p:cNvSpPr>
          <p:nvPr/>
        </p:nvSpPr>
        <p:spPr bwMode="auto">
          <a:xfrm>
            <a:off x="3606994" y="1124820"/>
            <a:ext cx="1835618" cy="507959"/>
          </a:xfrm>
          <a:prstGeom prst="rect">
            <a:avLst/>
          </a:prstGeom>
          <a:solidFill>
            <a:srgbClr val="004A8E"/>
          </a:solidFill>
          <a:ln>
            <a:noFill/>
          </a:ln>
          <a:extLst/>
        </p:spPr>
        <p:txBody>
          <a:bodyPr vert="horz" wrap="square" lIns="91416" tIns="45708" rIns="91416" bIns="4570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Self service application / portal</a:t>
            </a:r>
          </a:p>
        </p:txBody>
      </p:sp>
      <p:sp>
        <p:nvSpPr>
          <p:cNvPr id="57" name="Rectangle 56"/>
          <p:cNvSpPr>
            <a:spLocks noChangeArrowheads="1"/>
          </p:cNvSpPr>
          <p:nvPr/>
        </p:nvSpPr>
        <p:spPr bwMode="auto">
          <a:xfrm>
            <a:off x="5767031" y="1143657"/>
            <a:ext cx="2608098" cy="507959"/>
          </a:xfrm>
          <a:prstGeom prst="rect">
            <a:avLst/>
          </a:prstGeom>
          <a:solidFill>
            <a:srgbClr val="004A8E"/>
          </a:solidFill>
          <a:ln>
            <a:noFill/>
          </a:ln>
          <a:extLst/>
        </p:spPr>
        <p:txBody>
          <a:bodyPr vert="horz" wrap="square" lIns="91416" tIns="45708" rIns="91416" bIns="4570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799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Retail application</a:t>
            </a:r>
          </a:p>
        </p:txBody>
      </p:sp>
      <p:sp>
        <p:nvSpPr>
          <p:cNvPr id="58" name="Rectangle 57"/>
          <p:cNvSpPr>
            <a:spLocks noChangeArrowheads="1"/>
          </p:cNvSpPr>
          <p:nvPr/>
        </p:nvSpPr>
        <p:spPr bwMode="auto">
          <a:xfrm>
            <a:off x="8699548" y="1113823"/>
            <a:ext cx="2608098" cy="507959"/>
          </a:xfrm>
          <a:prstGeom prst="rect">
            <a:avLst/>
          </a:prstGeom>
          <a:solidFill>
            <a:srgbClr val="004A8E"/>
          </a:solidFill>
          <a:ln>
            <a:noFill/>
          </a:ln>
          <a:extLst/>
        </p:spPr>
        <p:txBody>
          <a:bodyPr vert="horz" wrap="square" lIns="91416" tIns="45708" rIns="91416" bIns="4570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799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Engagement center (call center) application</a:t>
            </a:r>
          </a:p>
        </p:txBody>
      </p:sp>
      <p:sp>
        <p:nvSpPr>
          <p:cNvPr id="59" name="Down Arrow 58"/>
          <p:cNvSpPr/>
          <p:nvPr/>
        </p:nvSpPr>
        <p:spPr>
          <a:xfrm>
            <a:off x="6530550" y="2249076"/>
            <a:ext cx="661307" cy="290673"/>
          </a:xfrm>
          <a:prstGeom prst="downArrow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60" name="Down Arrow 59"/>
          <p:cNvSpPr/>
          <p:nvPr/>
        </p:nvSpPr>
        <p:spPr>
          <a:xfrm>
            <a:off x="4063212" y="3937831"/>
            <a:ext cx="661307" cy="357916"/>
          </a:xfrm>
          <a:prstGeom prst="downArrow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61" name="Down Arrow 60"/>
          <p:cNvSpPr/>
          <p:nvPr/>
        </p:nvSpPr>
        <p:spPr>
          <a:xfrm>
            <a:off x="8036745" y="3952898"/>
            <a:ext cx="661307" cy="342849"/>
          </a:xfrm>
          <a:prstGeom prst="downArrow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62" name="Left Brace 61"/>
          <p:cNvSpPr/>
          <p:nvPr/>
        </p:nvSpPr>
        <p:spPr>
          <a:xfrm>
            <a:off x="2379348" y="1136281"/>
            <a:ext cx="605481" cy="1166630"/>
          </a:xfrm>
          <a:prstGeom prst="lef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/>
          <p:cNvSpPr txBox="1"/>
          <p:nvPr/>
        </p:nvSpPr>
        <p:spPr>
          <a:xfrm>
            <a:off x="707018" y="1241087"/>
            <a:ext cx="27500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 Channel application</a:t>
            </a:r>
          </a:p>
        </p:txBody>
      </p:sp>
      <p:sp>
        <p:nvSpPr>
          <p:cNvPr id="64" name="Left Brace 63"/>
          <p:cNvSpPr/>
          <p:nvPr/>
        </p:nvSpPr>
        <p:spPr>
          <a:xfrm>
            <a:off x="2394393" y="2470368"/>
            <a:ext cx="605481" cy="1539174"/>
          </a:xfrm>
          <a:prstGeom prst="lef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64"/>
          <p:cNvSpPr txBox="1"/>
          <p:nvPr/>
        </p:nvSpPr>
        <p:spPr>
          <a:xfrm>
            <a:off x="101563" y="2549290"/>
            <a:ext cx="27500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Experience layer server side components </a:t>
            </a:r>
          </a:p>
        </p:txBody>
      </p:sp>
      <p:sp>
        <p:nvSpPr>
          <p:cNvPr id="66" name="Rectangle 65"/>
          <p:cNvSpPr/>
          <p:nvPr/>
        </p:nvSpPr>
        <p:spPr>
          <a:xfrm>
            <a:off x="3090707" y="2718898"/>
            <a:ext cx="3223594" cy="281457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OC Experience service signatures</a:t>
            </a:r>
          </a:p>
        </p:txBody>
      </p:sp>
      <p:sp>
        <p:nvSpPr>
          <p:cNvPr id="67" name="Rectangle 66"/>
          <p:cNvSpPr/>
          <p:nvPr/>
        </p:nvSpPr>
        <p:spPr>
          <a:xfrm>
            <a:off x="6628869" y="3037635"/>
            <a:ext cx="3233523" cy="680400"/>
          </a:xfrm>
          <a:prstGeom prst="rect">
            <a:avLst/>
          </a:prstGeom>
          <a:solidFill>
            <a:srgbClr val="0063B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Experience model to capability model Mapping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Calibri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628869" y="2723014"/>
            <a:ext cx="3223594" cy="281457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OC Experience service signatures</a:t>
            </a:r>
          </a:p>
        </p:txBody>
      </p:sp>
    </p:spTree>
    <p:extLst>
      <p:ext uri="{BB962C8B-B14F-4D97-AF65-F5344CB8AC3E}">
        <p14:creationId xmlns:p14="http://schemas.microsoft.com/office/powerpoint/2010/main" val="1135857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65682" y="2003489"/>
            <a:ext cx="4374011" cy="1231106"/>
          </a:xfrm>
        </p:spPr>
        <p:txBody>
          <a:bodyPr/>
          <a:lstStyle/>
          <a:p>
            <a:r>
              <a:rPr lang="en-US" sz="4000" dirty="0">
                <a:solidFill>
                  <a:srgbClr val="003A69"/>
                </a:solidFill>
              </a:rPr>
              <a:t>Widgets Overview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body" idx="1"/>
          </p:nvPr>
        </p:nvSpPr>
        <p:spPr>
          <a:xfrm>
            <a:off x="7265682" y="4026453"/>
            <a:ext cx="4374010" cy="307648"/>
          </a:xfrm>
        </p:spPr>
        <p:txBody>
          <a:bodyPr/>
          <a:lstStyle/>
          <a:p>
            <a:pPr marL="342797" indent="-342797">
              <a:buFont typeface="Arial" panose="020B0604020202020204" pitchFamily="34" charset="0"/>
              <a:buChar char="•"/>
            </a:pP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79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5290473" y="0"/>
            <a:ext cx="5390008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58107" y="1214513"/>
            <a:ext cx="4643912" cy="5228154"/>
          </a:xfrm>
          <a:prstGeom prst="rect">
            <a:avLst/>
          </a:prstGeom>
          <a:noFill/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Clr>
                <a:srgbClr val="E20074"/>
              </a:buClr>
              <a:buFont typeface="Wingdings" panose="05000000000000000000" pitchFamily="2" charset="2"/>
              <a:buChar char="ü"/>
            </a:pPr>
            <a:endParaRPr lang="en-US" sz="1600" dirty="0">
              <a:solidFill>
                <a:prstClr val="black"/>
              </a:solidFill>
            </a:endParaRPr>
          </a:p>
          <a:p>
            <a:pPr marL="285750" indent="-285750">
              <a:buClr>
                <a:srgbClr val="E20074"/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prstClr val="black"/>
                </a:solidFill>
              </a:rPr>
              <a:t>Seamless integration of Widgets to other Channels (web, dealers, call centers).</a:t>
            </a:r>
          </a:p>
          <a:p>
            <a:pPr marL="285750" indent="-285750">
              <a:buClr>
                <a:srgbClr val="E20074"/>
              </a:buClr>
              <a:buFont typeface="Wingdings" panose="05000000000000000000" pitchFamily="2" charset="2"/>
              <a:buChar char="ü"/>
            </a:pPr>
            <a:endParaRPr lang="en-US" sz="1600" dirty="0">
              <a:solidFill>
                <a:prstClr val="black"/>
              </a:solidFill>
            </a:endParaRPr>
          </a:p>
          <a:p>
            <a:pPr marL="285750" indent="-285750">
              <a:buClr>
                <a:srgbClr val="E20074"/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prstClr val="black"/>
                </a:solidFill>
              </a:rPr>
              <a:t>No retooling required for frontline users (eliminates massive retraining, parity and adoption challenges) </a:t>
            </a:r>
          </a:p>
          <a:p>
            <a:pPr marL="285750" indent="-285750">
              <a:buClr>
                <a:srgbClr val="E20074"/>
              </a:buClr>
              <a:buFont typeface="Wingdings" panose="05000000000000000000" pitchFamily="2" charset="2"/>
              <a:buChar char="ü"/>
            </a:pPr>
            <a:endParaRPr lang="en-US" sz="1600" dirty="0">
              <a:solidFill>
                <a:prstClr val="black"/>
              </a:solidFill>
            </a:endParaRPr>
          </a:p>
          <a:p>
            <a:pPr marL="285750" indent="-285750">
              <a:buClr>
                <a:srgbClr val="E20074"/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prstClr val="black"/>
                </a:solidFill>
              </a:rPr>
              <a:t>Widget view adapts to front end look and feel</a:t>
            </a:r>
          </a:p>
          <a:p>
            <a:pPr marL="285750" indent="-285750">
              <a:buClr>
                <a:srgbClr val="E20074"/>
              </a:buClr>
              <a:buFont typeface="Wingdings" panose="05000000000000000000" pitchFamily="2" charset="2"/>
              <a:buChar char="ü"/>
            </a:pPr>
            <a:endParaRPr lang="en-US" sz="1600" dirty="0">
              <a:solidFill>
                <a:prstClr val="black"/>
              </a:solidFill>
            </a:endParaRPr>
          </a:p>
          <a:p>
            <a:pPr marL="285750" indent="-285750">
              <a:buClr>
                <a:srgbClr val="E20074"/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prstClr val="black"/>
                </a:solidFill>
              </a:rPr>
              <a:t>Responsive Design for all types of devices (PC, Tablets and Smartphones)</a:t>
            </a:r>
          </a:p>
          <a:p>
            <a:pPr marL="285750" indent="-285750">
              <a:buClr>
                <a:srgbClr val="E20074"/>
              </a:buClr>
              <a:buFont typeface="Wingdings" panose="05000000000000000000" pitchFamily="2" charset="2"/>
              <a:buChar char="ü"/>
            </a:pPr>
            <a:endParaRPr lang="en-US" sz="1600" dirty="0">
              <a:solidFill>
                <a:prstClr val="black"/>
              </a:solidFill>
            </a:endParaRPr>
          </a:p>
          <a:p>
            <a:pPr marL="285750" indent="-285750">
              <a:buClr>
                <a:srgbClr val="E20074"/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prstClr val="black"/>
                </a:solidFill>
              </a:rPr>
              <a:t>Based on standard technologies and open source (</a:t>
            </a:r>
            <a:r>
              <a:rPr lang="en-US" sz="1600" dirty="0">
                <a:solidFill>
                  <a:srgbClr val="FF0000"/>
                </a:solidFill>
              </a:rPr>
              <a:t>React/Redux, HTML5, CSS3</a:t>
            </a:r>
            <a:r>
              <a:rPr lang="en-US" sz="1600" dirty="0">
                <a:solidFill>
                  <a:prstClr val="black"/>
                </a:solidFill>
              </a:rPr>
              <a:t>)</a:t>
            </a:r>
          </a:p>
        </p:txBody>
      </p:sp>
      <p:sp>
        <p:nvSpPr>
          <p:cNvPr id="51" name="Rectangle 50"/>
          <p:cNvSpPr/>
          <p:nvPr/>
        </p:nvSpPr>
        <p:spPr>
          <a:xfrm>
            <a:off x="5305133" y="-97960"/>
            <a:ext cx="6645349" cy="531628"/>
          </a:xfrm>
          <a:prstGeom prst="rect">
            <a:avLst/>
          </a:prstGeom>
          <a:noFill/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rgbClr val="FFFFFF"/>
                </a:solidFill>
              </a:rPr>
              <a:t>Example: Change Bill Cycle Widget on Web and stores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305133" y="2094054"/>
            <a:ext cx="6645349" cy="531628"/>
          </a:xfrm>
          <a:prstGeom prst="rect">
            <a:avLst/>
          </a:prstGeom>
          <a:noFill/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rgbClr val="FFFFFF"/>
                </a:solidFill>
              </a:rPr>
              <a:t>Example: Bill Comparison Widget on Call centers systems</a:t>
            </a:r>
          </a:p>
        </p:txBody>
      </p:sp>
      <p:grpSp>
        <p:nvGrpSpPr>
          <p:cNvPr id="53" name="Group 52"/>
          <p:cNvGrpSpPr/>
          <p:nvPr/>
        </p:nvGrpSpPr>
        <p:grpSpPr>
          <a:xfrm>
            <a:off x="7765139" y="354610"/>
            <a:ext cx="2294148" cy="1828836"/>
            <a:chOff x="6961587" y="829797"/>
            <a:chExt cx="2342829" cy="2245719"/>
          </a:xfrm>
        </p:grpSpPr>
        <p:grpSp>
          <p:nvGrpSpPr>
            <p:cNvPr id="54" name="Group 53"/>
            <p:cNvGrpSpPr/>
            <p:nvPr/>
          </p:nvGrpSpPr>
          <p:grpSpPr>
            <a:xfrm>
              <a:off x="6961587" y="829797"/>
              <a:ext cx="2342829" cy="2245719"/>
              <a:chOff x="5958787" y="2881423"/>
              <a:chExt cx="5881325" cy="4678326"/>
            </a:xfrm>
          </p:grpSpPr>
          <p:pic>
            <p:nvPicPr>
              <p:cNvPr id="56" name="Picture 55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958787" y="2881423"/>
                <a:ext cx="5881325" cy="4678326"/>
              </a:xfrm>
              <a:prstGeom prst="rect">
                <a:avLst/>
              </a:prstGeom>
            </p:spPr>
          </p:pic>
          <p:pic>
            <p:nvPicPr>
              <p:cNvPr id="58" name="Picture 57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45619" y="4341149"/>
                <a:ext cx="5465894" cy="2176610"/>
              </a:xfrm>
              <a:prstGeom prst="rect">
                <a:avLst/>
              </a:prstGeom>
            </p:spPr>
          </p:pic>
        </p:grpSp>
        <p:sp>
          <p:nvSpPr>
            <p:cNvPr id="55" name="TextBox 54"/>
            <p:cNvSpPr txBox="1"/>
            <p:nvPr/>
          </p:nvSpPr>
          <p:spPr>
            <a:xfrm>
              <a:off x="7610982" y="2677876"/>
              <a:ext cx="1044039" cy="3212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rgbClr val="FFFFFF"/>
                  </a:solidFill>
                </a:rPr>
                <a:t>Web</a:t>
              </a:r>
            </a:p>
          </p:txBody>
        </p:sp>
      </p:grpSp>
      <p:sp>
        <p:nvSpPr>
          <p:cNvPr id="76" name="TextBox 75"/>
          <p:cNvSpPr txBox="1"/>
          <p:nvPr/>
        </p:nvSpPr>
        <p:spPr>
          <a:xfrm>
            <a:off x="9051072" y="2849105"/>
            <a:ext cx="974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rgbClr val="FFFFFF"/>
                </a:solidFill>
              </a:rPr>
              <a:t>Call Center</a:t>
            </a:r>
          </a:p>
        </p:txBody>
      </p:sp>
      <p:sp>
        <p:nvSpPr>
          <p:cNvPr id="78" name="Rectangle 77"/>
          <p:cNvSpPr/>
          <p:nvPr/>
        </p:nvSpPr>
        <p:spPr>
          <a:xfrm>
            <a:off x="5272548" y="4403213"/>
            <a:ext cx="6645349" cy="531628"/>
          </a:xfrm>
          <a:prstGeom prst="rect">
            <a:avLst/>
          </a:prstGeom>
          <a:noFill/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rgbClr val="FFFFFF"/>
                </a:solidFill>
              </a:rPr>
              <a:t>Example: Account Review Widget on Web and Handset</a:t>
            </a:r>
          </a:p>
        </p:txBody>
      </p:sp>
      <p:grpSp>
        <p:nvGrpSpPr>
          <p:cNvPr id="80" name="Group 79"/>
          <p:cNvGrpSpPr/>
          <p:nvPr/>
        </p:nvGrpSpPr>
        <p:grpSpPr>
          <a:xfrm>
            <a:off x="5519764" y="4982763"/>
            <a:ext cx="2417054" cy="1819448"/>
            <a:chOff x="4798826" y="4009931"/>
            <a:chExt cx="2923955" cy="2567901"/>
          </a:xfrm>
        </p:grpSpPr>
        <p:pic>
          <p:nvPicPr>
            <p:cNvPr id="82" name="Picture 81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98826" y="4009931"/>
              <a:ext cx="2923955" cy="2554384"/>
            </a:xfrm>
            <a:prstGeom prst="rect">
              <a:avLst/>
            </a:prstGeom>
          </p:spPr>
        </p:pic>
        <p:sp>
          <p:nvSpPr>
            <p:cNvPr id="83" name="TextBox 82"/>
            <p:cNvSpPr txBox="1"/>
            <p:nvPr/>
          </p:nvSpPr>
          <p:spPr>
            <a:xfrm>
              <a:off x="5702593" y="6208605"/>
              <a:ext cx="1116419" cy="3692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rgbClr val="FFFFFF"/>
                  </a:solidFill>
                </a:rPr>
                <a:t>Web</a:t>
              </a: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8610430" y="4767144"/>
            <a:ext cx="1962998" cy="2090857"/>
            <a:chOff x="10225827" y="4767143"/>
            <a:chExt cx="1962998" cy="2090857"/>
          </a:xfrm>
        </p:grpSpPr>
        <p:pic>
          <p:nvPicPr>
            <p:cNvPr id="85" name="Picture 8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25827" y="4767143"/>
              <a:ext cx="1962998" cy="2090857"/>
            </a:xfrm>
            <a:prstGeom prst="rect">
              <a:avLst/>
            </a:prstGeom>
          </p:spPr>
        </p:pic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2198" y="4998177"/>
              <a:ext cx="905256" cy="1372605"/>
            </a:xfrm>
            <a:prstGeom prst="rect">
              <a:avLst/>
            </a:prstGeom>
          </p:spPr>
        </p:pic>
      </p:grpSp>
      <p:grpSp>
        <p:nvGrpSpPr>
          <p:cNvPr id="88" name="Group 87"/>
          <p:cNvGrpSpPr/>
          <p:nvPr/>
        </p:nvGrpSpPr>
        <p:grpSpPr>
          <a:xfrm>
            <a:off x="5405938" y="610597"/>
            <a:ext cx="2243733" cy="1372251"/>
            <a:chOff x="2951680" y="965441"/>
            <a:chExt cx="3194416" cy="2061864"/>
          </a:xfrm>
        </p:grpSpPr>
        <p:sp>
          <p:nvSpPr>
            <p:cNvPr id="90" name="TextBox 89"/>
            <p:cNvSpPr txBox="1"/>
            <p:nvPr/>
          </p:nvSpPr>
          <p:spPr>
            <a:xfrm>
              <a:off x="3995124" y="2634225"/>
              <a:ext cx="1107527" cy="3930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rgbClr val="FFFFFF"/>
                  </a:solidFill>
                </a:rPr>
                <a:t>Stores</a:t>
              </a:r>
            </a:p>
          </p:txBody>
        </p: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51680" y="965441"/>
              <a:ext cx="3194416" cy="1814047"/>
            </a:xfrm>
            <a:prstGeom prst="rect">
              <a:avLst/>
            </a:prstGeom>
          </p:spPr>
        </p:pic>
      </p:grpSp>
      <p:sp>
        <p:nvSpPr>
          <p:cNvPr id="92" name="Title 91"/>
          <p:cNvSpPr>
            <a:spLocks noGrp="1"/>
          </p:cNvSpPr>
          <p:nvPr>
            <p:ph type="title"/>
          </p:nvPr>
        </p:nvSpPr>
        <p:spPr>
          <a:xfrm>
            <a:off x="546378" y="599925"/>
            <a:ext cx="11088784" cy="553998"/>
          </a:xfrm>
        </p:spPr>
        <p:txBody>
          <a:bodyPr/>
          <a:lstStyle/>
          <a:p>
            <a:r>
              <a:rPr lang="en-US" dirty="0"/>
              <a:t>Multi Touch point,</a:t>
            </a:r>
            <a:br>
              <a:rPr lang="en-US" dirty="0"/>
            </a:br>
            <a:r>
              <a:rPr lang="en-US" dirty="0"/>
              <a:t>Multi channel</a:t>
            </a:r>
          </a:p>
        </p:txBody>
      </p:sp>
      <p:pic>
        <p:nvPicPr>
          <p:cNvPr id="93" name="Picture 9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6264" y="668768"/>
            <a:ext cx="1247775" cy="914400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6516" y="409136"/>
            <a:ext cx="2133600" cy="514350"/>
          </a:xfrm>
          <a:prstGeom prst="rect">
            <a:avLst/>
          </a:prstGeom>
        </p:spPr>
      </p:pic>
      <p:pic>
        <p:nvPicPr>
          <p:cNvPr id="100" name="Picture 9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1476" y="2671653"/>
            <a:ext cx="2381250" cy="1552575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3589" y="2969120"/>
            <a:ext cx="1838867" cy="1121080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1084" y="2575200"/>
            <a:ext cx="2552232" cy="2050201"/>
          </a:xfrm>
          <a:prstGeom prst="rect">
            <a:avLst/>
          </a:prstGeom>
        </p:spPr>
      </p:pic>
      <p:pic>
        <p:nvPicPr>
          <p:cNvPr id="102" name="Picture 101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7666" y="5032801"/>
            <a:ext cx="2228850" cy="133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39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US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</a:br>
            <a:r>
              <a:rPr lang="en-US" dirty="0">
                <a:solidFill>
                  <a:schemeClr val="tx1"/>
                </a:solidFill>
              </a:rPr>
              <a:t>Digital Experience Layer -  Create Once Deploy Many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sz="1900" b="0" i="1" dirty="0">
                <a:solidFill>
                  <a:schemeClr val="tx1"/>
                </a:solidFill>
              </a:rPr>
              <a:t>Across Channels &amp; Touch Points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063" y="1339194"/>
            <a:ext cx="6025661" cy="2019965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736667" y="6020740"/>
            <a:ext cx="2530520" cy="261611"/>
          </a:xfrm>
          <a:prstGeom prst="rect">
            <a:avLst/>
          </a:prstGeom>
        </p:spPr>
        <p:txBody>
          <a:bodyPr wrap="none" lIns="91428" tIns="45715" rIns="91428" bIns="45715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</a:rPr>
              <a:t>* Widget can have different  view / UI 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47208" y="1821670"/>
            <a:ext cx="878403" cy="1055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0" name="TextBox 69"/>
          <p:cNvSpPr txBox="1"/>
          <p:nvPr/>
        </p:nvSpPr>
        <p:spPr>
          <a:xfrm>
            <a:off x="6586909" y="4453387"/>
            <a:ext cx="5451269" cy="1357615"/>
          </a:xfrm>
          <a:prstGeom prst="rect">
            <a:avLst/>
          </a:prstGeom>
          <a:noFill/>
        </p:spPr>
        <p:txBody>
          <a:bodyPr wrap="square" lIns="121877" tIns="60939" rIns="121877" bIns="60939" rtlCol="0">
            <a:spAutoFit/>
          </a:bodyPr>
          <a:lstStyle/>
          <a:p>
            <a:pPr marL="285653" indent="-285653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4D4E53"/>
                </a:solidFill>
              </a:rPr>
              <a:t>Widget is a UI business building block aimed to deliver same capability in multiple channel </a:t>
            </a:r>
          </a:p>
          <a:p>
            <a:pPr marL="285653" indent="-285653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4D4E53"/>
                </a:solidFill>
              </a:rPr>
              <a:t>They can be with single view fully Responsive or different views tailored for channel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7421526" y="1233378"/>
            <a:ext cx="3912781" cy="2869756"/>
            <a:chOff x="7097653" y="1055909"/>
            <a:chExt cx="4773585" cy="4674006"/>
          </a:xfrm>
        </p:grpSpPr>
        <p:sp>
          <p:nvSpPr>
            <p:cNvPr id="39" name="Rectangle 38"/>
            <p:cNvSpPr/>
            <p:nvPr/>
          </p:nvSpPr>
          <p:spPr>
            <a:xfrm>
              <a:off x="7097653" y="5251377"/>
              <a:ext cx="4773585" cy="478538"/>
            </a:xfrm>
            <a:prstGeom prst="rect">
              <a:avLst/>
            </a:prstGeom>
            <a:solidFill>
              <a:srgbClr val="302E4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>
                <a:defRPr/>
              </a:pPr>
              <a:r>
                <a:rPr lang="en-US" sz="1200" kern="0" dirty="0">
                  <a:solidFill>
                    <a:srgbClr val="FFFFFF"/>
                  </a:solidFill>
                  <a:latin typeface="Calibri" charset="0"/>
                  <a:ea typeface="Calibri" charset="0"/>
                  <a:cs typeface="Calibri" charset="0"/>
                </a:rPr>
                <a:t>REST API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097653" y="3153643"/>
              <a:ext cx="4773585" cy="1951897"/>
            </a:xfrm>
            <a:prstGeom prst="rect">
              <a:avLst/>
            </a:prstGeom>
            <a:solidFill>
              <a:srgbClr val="EC008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>
                <a:defRPr/>
              </a:pPr>
              <a:r>
                <a:rPr lang="en-US" sz="1400" kern="0" dirty="0">
                  <a:solidFill>
                    <a:srgbClr val="FFFFFF"/>
                  </a:solidFill>
                  <a:latin typeface="Calibri" charset="0"/>
                  <a:ea typeface="Calibri" charset="0"/>
                  <a:cs typeface="Calibri" charset="0"/>
                </a:rPr>
                <a:t>Client SDK (Standard JS) – Headless Widgets</a:t>
              </a:r>
            </a:p>
            <a:p>
              <a:pPr algn="ctr" defTabSz="914126">
                <a:defRPr/>
              </a:pPr>
              <a:endParaRPr lang="en-US" sz="1400" kern="0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endParaRPr>
            </a:p>
            <a:p>
              <a:pPr algn="ctr" defTabSz="914126">
                <a:defRPr/>
              </a:pPr>
              <a:endParaRPr lang="en-US" sz="1400" kern="0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endParaRPr>
            </a:p>
            <a:p>
              <a:pPr algn="ctr" defTabSz="914126">
                <a:defRPr/>
              </a:pPr>
              <a:endParaRPr lang="en-US" sz="1400" kern="0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7097653" y="1055909"/>
              <a:ext cx="4773585" cy="1951897"/>
            </a:xfrm>
            <a:prstGeom prst="rect">
              <a:avLst/>
            </a:prstGeom>
            <a:solidFill>
              <a:srgbClr val="F266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>
                <a:defRPr/>
              </a:pPr>
              <a:r>
                <a:rPr lang="en-US" sz="1400" kern="0" dirty="0">
                  <a:solidFill>
                    <a:srgbClr val="FFFFFF"/>
                  </a:solidFill>
                  <a:latin typeface="Calibri" charset="0"/>
                  <a:ea typeface="Calibri" charset="0"/>
                  <a:cs typeface="Calibri" charset="0"/>
                </a:rPr>
                <a:t>Web Components / Widgets (View)</a:t>
              </a:r>
            </a:p>
            <a:p>
              <a:pPr algn="ctr" defTabSz="914126">
                <a:defRPr/>
              </a:pPr>
              <a:endParaRPr lang="en-US" sz="1400" kern="0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endParaRPr>
            </a:p>
            <a:p>
              <a:pPr algn="ctr" defTabSz="914126">
                <a:defRPr/>
              </a:pPr>
              <a:endParaRPr lang="en-US" sz="1400" kern="0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endParaRPr>
            </a:p>
            <a:p>
              <a:pPr algn="ctr" defTabSz="914126">
                <a:defRPr/>
              </a:pPr>
              <a:endParaRPr lang="en-US" sz="1400" kern="0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endParaRPr>
            </a:p>
          </p:txBody>
        </p: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4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10733" y="3998201"/>
              <a:ext cx="967690" cy="957840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5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02165" y="1903487"/>
              <a:ext cx="784825" cy="784825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139959" y="3719779"/>
            <a:ext cx="6509942" cy="2655283"/>
            <a:chOff x="3531458" y="1813457"/>
            <a:chExt cx="8433516" cy="4561605"/>
          </a:xfrm>
        </p:grpSpPr>
        <p:grpSp>
          <p:nvGrpSpPr>
            <p:cNvPr id="23" name="Group 22"/>
            <p:cNvGrpSpPr/>
            <p:nvPr/>
          </p:nvGrpSpPr>
          <p:grpSpPr>
            <a:xfrm>
              <a:off x="3531458" y="1927674"/>
              <a:ext cx="4656588" cy="4294336"/>
              <a:chOff x="102282" y="2394292"/>
              <a:chExt cx="3493519" cy="3221746"/>
            </a:xfrm>
          </p:grpSpPr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2282" y="2394292"/>
                <a:ext cx="3493519" cy="3221746"/>
              </a:xfrm>
              <a:prstGeom prst="rect">
                <a:avLst/>
              </a:prstGeom>
            </p:spPr>
          </p:pic>
          <p:pic>
            <p:nvPicPr>
              <p:cNvPr id="25" name="Picture 24"/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47157" y="2846025"/>
                <a:ext cx="2832224" cy="1605089"/>
              </a:xfrm>
              <a:prstGeom prst="rect">
                <a:avLst/>
              </a:prstGeom>
              <a:ln w="38100" cap="sq">
                <a:noFill/>
                <a:prstDash val="solid"/>
                <a:miter lim="800000"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</p:pic>
        </p:grpSp>
        <p:grpSp>
          <p:nvGrpSpPr>
            <p:cNvPr id="26" name="Group 25"/>
            <p:cNvGrpSpPr/>
            <p:nvPr/>
          </p:nvGrpSpPr>
          <p:grpSpPr>
            <a:xfrm>
              <a:off x="6884911" y="3208745"/>
              <a:ext cx="3973728" cy="3166317"/>
              <a:chOff x="3457649" y="1717280"/>
              <a:chExt cx="2981216" cy="2375471"/>
            </a:xfrm>
          </p:grpSpPr>
          <p:pic>
            <p:nvPicPr>
              <p:cNvPr id="27" name="Picture 26"/>
              <p:cNvPicPr>
                <a:picLocks noChangeAspect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57649" y="1717280"/>
                <a:ext cx="2981216" cy="2375471"/>
              </a:xfrm>
              <a:prstGeom prst="rect">
                <a:avLst/>
              </a:prstGeom>
            </p:spPr>
          </p:pic>
          <p:pic>
            <p:nvPicPr>
              <p:cNvPr id="28" name="Picture 27"/>
              <p:cNvPicPr>
                <a:picLocks noChangeAspect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22725" y="2173765"/>
                <a:ext cx="1885949" cy="1404000"/>
              </a:xfrm>
              <a:prstGeom prst="rect">
                <a:avLst/>
              </a:prstGeom>
              <a:ln w="38100" cap="sq">
                <a:noFill/>
                <a:prstDash val="solid"/>
                <a:miter lim="800000"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</p:pic>
        </p:grpSp>
        <p:grpSp>
          <p:nvGrpSpPr>
            <p:cNvPr id="29" name="Group 28"/>
            <p:cNvGrpSpPr/>
            <p:nvPr/>
          </p:nvGrpSpPr>
          <p:grpSpPr>
            <a:xfrm>
              <a:off x="10745096" y="4098059"/>
              <a:ext cx="935014" cy="1774286"/>
              <a:chOff x="6996826" y="1797476"/>
              <a:chExt cx="1408614" cy="2672991"/>
            </a:xfrm>
          </p:grpSpPr>
          <p:pic>
            <p:nvPicPr>
              <p:cNvPr id="30" name="Picture 29"/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96826" y="1797476"/>
                <a:ext cx="1408614" cy="2672991"/>
              </a:xfrm>
              <a:prstGeom prst="rect">
                <a:avLst/>
              </a:prstGeom>
            </p:spPr>
          </p:pic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184571" y="2233853"/>
                <a:ext cx="1015043" cy="1836000"/>
              </a:xfrm>
              <a:prstGeom prst="rect">
                <a:avLst/>
              </a:prstGeom>
              <a:ln>
                <a:noFill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</p:pic>
        </p:grpSp>
        <p:sp>
          <p:nvSpPr>
            <p:cNvPr id="32" name="TextBox 31"/>
            <p:cNvSpPr txBox="1"/>
            <p:nvPr/>
          </p:nvSpPr>
          <p:spPr>
            <a:xfrm>
              <a:off x="4438174" y="1813457"/>
              <a:ext cx="2881085" cy="5816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029"/>
              <a:r>
                <a:rPr lang="en-US" sz="1600" dirty="0">
                  <a:solidFill>
                    <a:srgbClr val="20343E"/>
                  </a:solidFill>
                  <a:latin typeface="Calibri Light"/>
                </a:rPr>
                <a:t>Web Self Service / CRM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7933999" y="3017914"/>
              <a:ext cx="2234459" cy="5816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029"/>
              <a:r>
                <a:rPr lang="en-US" sz="1600" dirty="0">
                  <a:solidFill>
                    <a:srgbClr val="20343E"/>
                  </a:solidFill>
                  <a:latin typeface="Calibri Light"/>
                </a:rPr>
                <a:t>Retail –Tablet App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0421400" y="3362595"/>
              <a:ext cx="1543574" cy="5816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029"/>
              <a:r>
                <a:rPr lang="en-US" sz="1600" dirty="0">
                  <a:solidFill>
                    <a:srgbClr val="20343E"/>
                  </a:solidFill>
                  <a:latin typeface="Calibri Light"/>
                </a:rPr>
                <a:t>Mobile Ap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78109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050" y="102528"/>
            <a:ext cx="11088784" cy="1107707"/>
          </a:xfrm>
        </p:spPr>
        <p:txBody>
          <a:bodyPr/>
          <a:lstStyle/>
          <a:p>
            <a:r>
              <a:rPr lang="en-US" dirty="0"/>
              <a:t>Experience Layer – </a:t>
            </a:r>
            <a:br>
              <a:rPr lang="en-US" dirty="0"/>
            </a:br>
            <a:r>
              <a:rPr lang="en-US" dirty="0"/>
              <a:t>Adobe Experience Manager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226422" y="2323043"/>
            <a:ext cx="2102572" cy="2779756"/>
            <a:chOff x="524334" y="1513839"/>
            <a:chExt cx="2277368" cy="2780480"/>
          </a:xfrm>
        </p:grpSpPr>
        <p:sp>
          <p:nvSpPr>
            <p:cNvPr id="28" name="Rectangle 27"/>
            <p:cNvSpPr/>
            <p:nvPr/>
          </p:nvSpPr>
          <p:spPr>
            <a:xfrm>
              <a:off x="524334" y="1955621"/>
              <a:ext cx="2277368" cy="151418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16" rIns="0" rtlCol="0" anchor="t"/>
            <a:lstStyle/>
            <a:p>
              <a:pPr marL="342797" indent="-176347" defTabSz="914126">
                <a:spcBef>
                  <a:spcPts val="1200"/>
                </a:spcBef>
                <a:buClr>
                  <a:prstClr val="white">
                    <a:lumMod val="75000"/>
                  </a:prstClr>
                </a:buClr>
                <a:buFont typeface="Wingdings" charset="2"/>
                <a:buChar char="§"/>
              </a:pPr>
              <a:r>
                <a:rPr lang="en-US" sz="1400" dirty="0">
                  <a:solidFill>
                    <a:srgbClr val="302E45"/>
                  </a:solidFill>
                </a:rPr>
                <a:t>Tool to import widgets into AEM</a:t>
              </a:r>
            </a:p>
            <a:p>
              <a:pPr marL="342797" indent="-176347" defTabSz="914126">
                <a:spcBef>
                  <a:spcPts val="1200"/>
                </a:spcBef>
                <a:buClr>
                  <a:prstClr val="white">
                    <a:lumMod val="75000"/>
                  </a:prstClr>
                </a:buClr>
                <a:buFont typeface="Wingdings" charset="2"/>
                <a:buChar char="§"/>
              </a:pPr>
              <a:r>
                <a:rPr lang="en-US" sz="1400" dirty="0">
                  <a:solidFill>
                    <a:srgbClr val="302E45"/>
                  </a:solidFill>
                </a:rPr>
                <a:t>Ability to manage configuration, content and navigation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46521" y="1513839"/>
              <a:ext cx="2255181" cy="2780480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pPr algn="ctr" defTabSz="914126"/>
              <a:endParaRPr lang="en-US" sz="1799" dirty="0" err="1">
                <a:solidFill>
                  <a:prstClr val="white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46521" y="1513839"/>
              <a:ext cx="2255181" cy="40309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pPr algn="ctr" defTabSz="914126">
                <a:spcAft>
                  <a:spcPts val="600"/>
                </a:spcAft>
              </a:pPr>
              <a:r>
                <a:rPr lang="en-US" sz="1799" b="1" dirty="0">
                  <a:solidFill>
                    <a:srgbClr val="302E45"/>
                  </a:solidFill>
                </a:rPr>
                <a:t>Widgets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503888" y="2323043"/>
            <a:ext cx="2102572" cy="2779756"/>
            <a:chOff x="3427716" y="1513839"/>
            <a:chExt cx="2659387" cy="2780480"/>
          </a:xfrm>
        </p:grpSpPr>
        <p:sp>
          <p:nvSpPr>
            <p:cNvPr id="34" name="Rectangle 33"/>
            <p:cNvSpPr/>
            <p:nvPr/>
          </p:nvSpPr>
          <p:spPr>
            <a:xfrm>
              <a:off x="3455159" y="1955621"/>
              <a:ext cx="2501479" cy="13065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16" rIns="0" rtlCol="0" anchor="t"/>
            <a:lstStyle/>
            <a:p>
              <a:pPr marL="342797" indent="-176347" defTabSz="914126">
                <a:spcBef>
                  <a:spcPts val="1200"/>
                </a:spcBef>
                <a:buClr>
                  <a:prstClr val="white">
                    <a:lumMod val="65000"/>
                  </a:prstClr>
                </a:buClr>
                <a:buFont typeface="Wingdings" charset="2"/>
                <a:buChar char="§"/>
              </a:pPr>
              <a:r>
                <a:rPr lang="en-US" sz="1400" dirty="0">
                  <a:solidFill>
                    <a:srgbClr val="302E45"/>
                  </a:solidFill>
                </a:rPr>
                <a:t>Import Catalog </a:t>
              </a:r>
              <a:br>
                <a:rPr lang="en-US" sz="1400" dirty="0">
                  <a:solidFill>
                    <a:srgbClr val="302E45"/>
                  </a:solidFill>
                </a:rPr>
              </a:br>
              <a:r>
                <a:rPr lang="en-US" sz="1400" dirty="0">
                  <a:solidFill>
                    <a:srgbClr val="302E45"/>
                  </a:solidFill>
                </a:rPr>
                <a:t>to AEM</a:t>
              </a:r>
            </a:p>
            <a:p>
              <a:pPr marL="342797" indent="-176347" defTabSz="914126">
                <a:spcBef>
                  <a:spcPts val="1200"/>
                </a:spcBef>
                <a:buClr>
                  <a:prstClr val="white">
                    <a:lumMod val="65000"/>
                  </a:prstClr>
                </a:buClr>
                <a:buFont typeface="Wingdings" charset="2"/>
                <a:buChar char="§"/>
              </a:pPr>
              <a:r>
                <a:rPr lang="en-US" sz="1400" dirty="0">
                  <a:solidFill>
                    <a:srgbClr val="302E45"/>
                  </a:solidFill>
                </a:rPr>
                <a:t>Enrichment of marketing attributes</a:t>
              </a:r>
            </a:p>
            <a:p>
              <a:pPr marL="342797" indent="-176347" defTabSz="914126">
                <a:spcBef>
                  <a:spcPts val="1200"/>
                </a:spcBef>
                <a:buClr>
                  <a:prstClr val="white">
                    <a:lumMod val="65000"/>
                  </a:prstClr>
                </a:buClr>
                <a:buFont typeface="Wingdings" charset="2"/>
                <a:buChar char="§"/>
              </a:pPr>
              <a:r>
                <a:rPr lang="en-US" sz="1400" dirty="0">
                  <a:solidFill>
                    <a:srgbClr val="302E45"/>
                  </a:solidFill>
                </a:rPr>
                <a:t>Syncing the master catalog with changes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3427716" y="1513839"/>
              <a:ext cx="2659387" cy="2780480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126"/>
              <a:endParaRPr lang="en-US" sz="1799" dirty="0" err="1">
                <a:solidFill>
                  <a:prstClr val="white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427716" y="1513839"/>
              <a:ext cx="2659387" cy="40309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126">
                <a:spcAft>
                  <a:spcPts val="600"/>
                </a:spcAft>
              </a:pPr>
              <a:r>
                <a:rPr lang="en-US" sz="1799" b="1" dirty="0">
                  <a:solidFill>
                    <a:prstClr val="white"/>
                  </a:solidFill>
                </a:rPr>
                <a:t>Catalog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9336289" y="2323043"/>
            <a:ext cx="2102572" cy="2779757"/>
            <a:chOff x="8517539" y="1388921"/>
            <a:chExt cx="2659387" cy="2780481"/>
          </a:xfrm>
        </p:grpSpPr>
        <p:sp>
          <p:nvSpPr>
            <p:cNvPr id="38" name="Rectangle 37"/>
            <p:cNvSpPr/>
            <p:nvPr/>
          </p:nvSpPr>
          <p:spPr>
            <a:xfrm>
              <a:off x="8517539" y="1799530"/>
              <a:ext cx="2501480" cy="17008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16" rIns="0" rtlCol="0" anchor="t"/>
            <a:lstStyle/>
            <a:p>
              <a:pPr marL="342797" indent="-176347" defTabSz="914126">
                <a:spcBef>
                  <a:spcPts val="1200"/>
                </a:spcBef>
                <a:buFont typeface="Wingdings" charset="2"/>
                <a:buChar char="§"/>
              </a:pPr>
              <a:r>
                <a:rPr lang="en-US" sz="1400" dirty="0">
                  <a:solidFill>
                    <a:srgbClr val="302E45"/>
                  </a:solidFill>
                </a:rPr>
                <a:t>Tracking users’ online behavior</a:t>
              </a:r>
            </a:p>
            <a:p>
              <a:pPr marL="342797" indent="-176347" defTabSz="914126">
                <a:spcBef>
                  <a:spcPts val="1200"/>
                </a:spcBef>
                <a:buFont typeface="Wingdings" charset="2"/>
                <a:buChar char="§"/>
              </a:pPr>
              <a:r>
                <a:rPr lang="en-US" sz="1400" dirty="0">
                  <a:solidFill>
                    <a:srgbClr val="302E45"/>
                  </a:solidFill>
                </a:rPr>
                <a:t>Exposing events and data</a:t>
              </a:r>
            </a:p>
            <a:p>
              <a:pPr marL="342797" indent="-176347" defTabSz="914126">
                <a:spcBef>
                  <a:spcPts val="1200"/>
                </a:spcBef>
                <a:buFont typeface="Wingdings" charset="2"/>
                <a:buChar char="§"/>
              </a:pPr>
              <a:r>
                <a:rPr lang="en-US" sz="1400" dirty="0">
                  <a:solidFill>
                    <a:srgbClr val="302E45"/>
                  </a:solidFill>
                </a:rPr>
                <a:t>Integration with Google Tag manager and Google analytics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8517539" y="1388921"/>
              <a:ext cx="2659387" cy="2780481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126"/>
              <a:endParaRPr lang="en-US" sz="1799" dirty="0" err="1">
                <a:solidFill>
                  <a:prstClr val="white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8517539" y="1388921"/>
              <a:ext cx="2659387" cy="40309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126">
                <a:spcAft>
                  <a:spcPts val="600"/>
                </a:spcAft>
              </a:pPr>
              <a:r>
                <a:rPr lang="en-US" sz="1799" b="1" dirty="0">
                  <a:solidFill>
                    <a:prstClr val="white"/>
                  </a:solidFill>
                </a:rPr>
                <a:t>Analytics</a:t>
              </a: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4739031" y="2323043"/>
            <a:ext cx="2150418" cy="2779757"/>
            <a:chOff x="3427716" y="3955159"/>
            <a:chExt cx="2849592" cy="2780481"/>
          </a:xfrm>
        </p:grpSpPr>
        <p:sp>
          <p:nvSpPr>
            <p:cNvPr id="42" name="Rectangle 41"/>
            <p:cNvSpPr/>
            <p:nvPr/>
          </p:nvSpPr>
          <p:spPr>
            <a:xfrm>
              <a:off x="3427716" y="4396941"/>
              <a:ext cx="2786190" cy="14915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16" rIns="0" rtlCol="0" anchor="t"/>
            <a:lstStyle/>
            <a:p>
              <a:pPr marL="342797" indent="-176347" defTabSz="914126">
                <a:spcBef>
                  <a:spcPts val="1200"/>
                </a:spcBef>
                <a:buClr>
                  <a:prstClr val="white">
                    <a:lumMod val="50000"/>
                  </a:prstClr>
                </a:buClr>
                <a:buFont typeface="Wingdings" charset="2"/>
                <a:buChar char="§"/>
              </a:pPr>
              <a:r>
                <a:rPr lang="en-US" sz="1400" dirty="0">
                  <a:solidFill>
                    <a:srgbClr val="302E45"/>
                  </a:solidFill>
                </a:rPr>
                <a:t>Exposing static content</a:t>
              </a:r>
            </a:p>
            <a:p>
              <a:pPr marL="342797" indent="-176347" defTabSz="914126">
                <a:spcBef>
                  <a:spcPts val="1200"/>
                </a:spcBef>
                <a:buClr>
                  <a:prstClr val="white">
                    <a:lumMod val="50000"/>
                  </a:prstClr>
                </a:buClr>
                <a:buFont typeface="Wingdings" charset="2"/>
                <a:buChar char="§"/>
              </a:pPr>
              <a:r>
                <a:rPr lang="en-US" sz="1400" dirty="0">
                  <a:solidFill>
                    <a:srgbClr val="302E45"/>
                  </a:solidFill>
                </a:rPr>
                <a:t>SEO best practices such as sitemap, title and description tags etc.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491118" y="3955159"/>
              <a:ext cx="2786190" cy="2780481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126"/>
              <a:endParaRPr lang="en-US" sz="1799" dirty="0" err="1">
                <a:solidFill>
                  <a:prstClr val="white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491118" y="3955159"/>
              <a:ext cx="2786190" cy="40309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126">
                <a:spcAft>
                  <a:spcPts val="600"/>
                </a:spcAft>
              </a:pPr>
              <a:r>
                <a:rPr lang="en-US" sz="1799" b="1" dirty="0">
                  <a:solidFill>
                    <a:prstClr val="white"/>
                  </a:solidFill>
                </a:rPr>
                <a:t>SEO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7058822" y="2323043"/>
            <a:ext cx="2102572" cy="2779757"/>
            <a:chOff x="3303788" y="3955159"/>
            <a:chExt cx="2016525" cy="2780481"/>
          </a:xfrm>
        </p:grpSpPr>
        <p:sp>
          <p:nvSpPr>
            <p:cNvPr id="46" name="Rectangle 45"/>
            <p:cNvSpPr/>
            <p:nvPr/>
          </p:nvSpPr>
          <p:spPr>
            <a:xfrm>
              <a:off x="3303788" y="4458902"/>
              <a:ext cx="2016525" cy="13402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16" rIns="0" rtlCol="0" anchor="t"/>
            <a:lstStyle/>
            <a:p>
              <a:pPr marL="342797" indent="-176347" defTabSz="914126">
                <a:spcBef>
                  <a:spcPts val="1200"/>
                </a:spcBef>
                <a:buClr>
                  <a:srgbClr val="6E7CA0"/>
                </a:buClr>
                <a:buFont typeface="Wingdings" charset="2"/>
                <a:buChar char="§"/>
              </a:pPr>
              <a:r>
                <a:rPr lang="en-US" sz="1400" dirty="0">
                  <a:solidFill>
                    <a:srgbClr val="302E45"/>
                  </a:solidFill>
                </a:rPr>
                <a:t>AEM client context integration</a:t>
              </a:r>
            </a:p>
            <a:p>
              <a:pPr marL="342797" indent="-176347" defTabSz="914126">
                <a:spcBef>
                  <a:spcPts val="1200"/>
                </a:spcBef>
                <a:buClr>
                  <a:srgbClr val="6E7CA0"/>
                </a:buClr>
                <a:buFont typeface="Wingdings" charset="2"/>
                <a:buChar char="§"/>
              </a:pPr>
              <a:r>
                <a:rPr lang="en-US" sz="1400" dirty="0">
                  <a:solidFill>
                    <a:srgbClr val="302E45"/>
                  </a:solidFill>
                </a:rPr>
                <a:t>Exposing BSS data </a:t>
              </a:r>
              <a:br>
                <a:rPr lang="en-US" sz="1400" dirty="0">
                  <a:solidFill>
                    <a:srgbClr val="302E45"/>
                  </a:solidFill>
                </a:rPr>
              </a:br>
              <a:r>
                <a:rPr lang="en-US" sz="1400" dirty="0">
                  <a:solidFill>
                    <a:srgbClr val="302E45"/>
                  </a:solidFill>
                </a:rPr>
                <a:t>in order to created personalized experience</a:t>
              </a:r>
            </a:p>
            <a:p>
              <a:pPr marL="342797" indent="-342797" defTabSz="914126">
                <a:spcBef>
                  <a:spcPts val="1200"/>
                </a:spcBef>
                <a:buClr>
                  <a:srgbClr val="6E7CA0"/>
                </a:buClr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rgbClr val="302E45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3303788" y="3955159"/>
              <a:ext cx="2016525" cy="2780481"/>
            </a:xfrm>
            <a:prstGeom prst="rect">
              <a:avLst/>
            </a:prstGeom>
            <a:noFill/>
            <a:ln>
              <a:solidFill>
                <a:srgbClr val="6E7C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126"/>
              <a:endParaRPr lang="en-US" sz="1799" dirty="0" err="1">
                <a:solidFill>
                  <a:prstClr val="white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3303788" y="3955159"/>
              <a:ext cx="2016525" cy="403094"/>
            </a:xfrm>
            <a:prstGeom prst="rect">
              <a:avLst/>
            </a:prstGeom>
            <a:solidFill>
              <a:srgbClr val="6E7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126">
                <a:spcAft>
                  <a:spcPts val="600"/>
                </a:spcAft>
              </a:pPr>
              <a:r>
                <a:rPr lang="en-US" sz="1799" b="1" dirty="0">
                  <a:solidFill>
                    <a:prstClr val="white"/>
                  </a:solidFill>
                </a:rPr>
                <a:t>Personalization</a:t>
              </a:r>
            </a:p>
          </p:txBody>
        </p:sp>
      </p:grpSp>
      <p:sp>
        <p:nvSpPr>
          <p:cNvPr id="49" name="Rectangle 48"/>
          <p:cNvSpPr/>
          <p:nvPr/>
        </p:nvSpPr>
        <p:spPr>
          <a:xfrm>
            <a:off x="226421" y="2319013"/>
            <a:ext cx="2116477" cy="45707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 err="1">
              <a:solidFill>
                <a:prstClr val="white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2499124" y="2291588"/>
            <a:ext cx="2111714" cy="27425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 err="1">
              <a:solidFill>
                <a:prstClr val="white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4781354" y="2291588"/>
            <a:ext cx="2111714" cy="27425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 err="1">
              <a:solidFill>
                <a:prstClr val="white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054058" y="2291588"/>
            <a:ext cx="2111714" cy="27425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 err="1">
              <a:solidFill>
                <a:prstClr val="white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9329938" y="2291588"/>
            <a:ext cx="2111714" cy="27425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 err="1">
              <a:solidFill>
                <a:prstClr val="white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3182473" y="5561333"/>
            <a:ext cx="1430776" cy="509620"/>
          </a:xfrm>
          <a:prstGeom prst="rect">
            <a:avLst/>
          </a:prstGeom>
          <a:solidFill>
            <a:schemeClr val="accent3"/>
          </a:solidFill>
          <a:ln w="19050" cap="sq" cmpd="sng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1000" dirty="0">
                <a:solidFill>
                  <a:prstClr val="white"/>
                </a:solidFill>
              </a:rPr>
              <a:t>Commerce widgets</a:t>
            </a:r>
          </a:p>
          <a:p>
            <a:pPr algn="ctr" defTabSz="914126"/>
            <a:endParaRPr lang="en-US" sz="1000" dirty="0">
              <a:solidFill>
                <a:prstClr val="white"/>
              </a:solidFill>
            </a:endParaRPr>
          </a:p>
          <a:p>
            <a:pPr algn="ctr" defTabSz="914126"/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666428" y="5561333"/>
            <a:ext cx="1652005" cy="509620"/>
          </a:xfrm>
          <a:prstGeom prst="rect">
            <a:avLst/>
          </a:prstGeom>
          <a:solidFill>
            <a:schemeClr val="accent3"/>
          </a:solidFill>
          <a:ln w="19050" cap="sq" cmpd="sng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1000" dirty="0">
                <a:solidFill>
                  <a:prstClr val="white"/>
                </a:solidFill>
              </a:rPr>
              <a:t>Billing care </a:t>
            </a:r>
            <a:br>
              <a:rPr lang="en-US" sz="1000" dirty="0">
                <a:solidFill>
                  <a:prstClr val="white"/>
                </a:solidFill>
              </a:rPr>
            </a:br>
            <a:r>
              <a:rPr lang="en-US" sz="1000" dirty="0">
                <a:solidFill>
                  <a:prstClr val="white"/>
                </a:solidFill>
              </a:rPr>
              <a:t>widgets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6371610" y="5561333"/>
            <a:ext cx="1652005" cy="509620"/>
          </a:xfrm>
          <a:prstGeom prst="rect">
            <a:avLst/>
          </a:prstGeom>
          <a:solidFill>
            <a:schemeClr val="accent2"/>
          </a:solidFill>
          <a:ln w="19050" cap="sq" cmpd="sng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1000" dirty="0">
                <a:solidFill>
                  <a:prstClr val="white"/>
                </a:solidFill>
              </a:rPr>
              <a:t>Support </a:t>
            </a:r>
            <a:br>
              <a:rPr lang="en-US" sz="1000" dirty="0">
                <a:solidFill>
                  <a:prstClr val="white"/>
                </a:solidFill>
              </a:rPr>
            </a:br>
            <a:r>
              <a:rPr lang="en-US" sz="1000" dirty="0">
                <a:solidFill>
                  <a:prstClr val="white"/>
                </a:solidFill>
              </a:rPr>
              <a:t>widgets 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076791" y="5561333"/>
            <a:ext cx="1652005" cy="509620"/>
          </a:xfrm>
          <a:prstGeom prst="rect">
            <a:avLst/>
          </a:prstGeom>
          <a:solidFill>
            <a:schemeClr val="accent2"/>
          </a:solidFill>
          <a:ln w="19050" cap="sq" cmpd="sng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1000" dirty="0">
                <a:solidFill>
                  <a:prstClr val="white"/>
                </a:solidFill>
              </a:rPr>
              <a:t>Customer care  widgets </a:t>
            </a:r>
          </a:p>
        </p:txBody>
      </p:sp>
      <p:sp>
        <p:nvSpPr>
          <p:cNvPr id="62" name="Rectangle 61"/>
          <p:cNvSpPr/>
          <p:nvPr/>
        </p:nvSpPr>
        <p:spPr>
          <a:xfrm>
            <a:off x="9781973" y="5561333"/>
            <a:ext cx="1652005" cy="509620"/>
          </a:xfrm>
          <a:prstGeom prst="rect">
            <a:avLst/>
          </a:prstGeom>
          <a:solidFill>
            <a:schemeClr val="accent2"/>
          </a:solidFill>
          <a:ln w="19050" cap="sq" cmpd="sng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1000" dirty="0">
                <a:solidFill>
                  <a:prstClr val="white"/>
                </a:solidFill>
              </a:rPr>
              <a:t>Multi modal plug-ins</a:t>
            </a:r>
          </a:p>
        </p:txBody>
      </p:sp>
      <p:sp>
        <p:nvSpPr>
          <p:cNvPr id="64" name="Rectangle 63"/>
          <p:cNvSpPr/>
          <p:nvPr/>
        </p:nvSpPr>
        <p:spPr>
          <a:xfrm>
            <a:off x="2023375" y="5412528"/>
            <a:ext cx="1076754" cy="780848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 cap="sq" cmpd="sng">
            <a:solidFill>
              <a:srgbClr val="96969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1100" dirty="0">
                <a:solidFill>
                  <a:prstClr val="white"/>
                </a:solidFill>
              </a:rPr>
              <a:t>WCMS </a:t>
            </a:r>
          </a:p>
          <a:p>
            <a:pPr algn="ctr" defTabSz="914126"/>
            <a:r>
              <a:rPr lang="en-US" sz="1000" dirty="0">
                <a:solidFill>
                  <a:prstClr val="white"/>
                </a:solidFill>
              </a:rPr>
              <a:t>(AEM)</a:t>
            </a:r>
          </a:p>
        </p:txBody>
      </p:sp>
      <p:sp>
        <p:nvSpPr>
          <p:cNvPr id="65" name="Rectangle 64"/>
          <p:cNvSpPr/>
          <p:nvPr/>
        </p:nvSpPr>
        <p:spPr>
          <a:xfrm>
            <a:off x="889433" y="5412528"/>
            <a:ext cx="1076754" cy="780848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 cap="sq" cmpd="sng">
            <a:solidFill>
              <a:srgbClr val="96969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1100" dirty="0">
                <a:solidFill>
                  <a:prstClr val="white"/>
                </a:solidFill>
              </a:rPr>
              <a:t>Amdocs Mobile Enablement</a:t>
            </a:r>
          </a:p>
        </p:txBody>
      </p:sp>
      <p:sp>
        <p:nvSpPr>
          <p:cNvPr id="54" name="Rectangle 53"/>
          <p:cNvSpPr/>
          <p:nvPr/>
        </p:nvSpPr>
        <p:spPr>
          <a:xfrm>
            <a:off x="2019364" y="5396408"/>
            <a:ext cx="1080765" cy="813086"/>
          </a:xfrm>
          <a:prstGeom prst="rect">
            <a:avLst/>
          </a:prstGeom>
          <a:noFill/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8" dirty="0" err="1">
              <a:solidFill>
                <a:prstClr val="white"/>
              </a:solidFill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8684538" y="232038"/>
            <a:ext cx="2445383" cy="2087247"/>
            <a:chOff x="6835761" y="2362201"/>
            <a:chExt cx="4802432" cy="4099100"/>
          </a:xfrm>
          <a:effectLst/>
        </p:grpSpPr>
        <p:pic>
          <p:nvPicPr>
            <p:cNvPr id="56" name="Picture 55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835761" y="2362201"/>
              <a:ext cx="4802432" cy="4099100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73925" y="2880143"/>
              <a:ext cx="4041775" cy="2562442"/>
            </a:xfrm>
            <a:prstGeom prst="rect">
              <a:avLst/>
            </a:prstGeom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</p:pic>
        <p:pic>
          <p:nvPicPr>
            <p:cNvPr id="63" name="Picture 62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63860" y="2862943"/>
              <a:ext cx="4075847" cy="2623458"/>
            </a:xfrm>
            <a:prstGeom prst="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</p:pic>
      </p:grpSp>
    </p:spTree>
    <p:extLst>
      <p:ext uri="{BB962C8B-B14F-4D97-AF65-F5344CB8AC3E}">
        <p14:creationId xmlns:p14="http://schemas.microsoft.com/office/powerpoint/2010/main" val="372215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sting a widg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378" y="1524000"/>
            <a:ext cx="7449957" cy="3566361"/>
          </a:xfrm>
        </p:spPr>
        <p:txBody>
          <a:bodyPr/>
          <a:lstStyle/>
          <a:p>
            <a:r>
              <a:rPr lang="en-US" dirty="0"/>
              <a:t>Widget Loading API</a:t>
            </a:r>
          </a:p>
          <a:p>
            <a:pPr lvl="1"/>
            <a:r>
              <a:rPr lang="en-US" dirty="0"/>
              <a:t>Embed a widget in dedicated place holder</a:t>
            </a:r>
          </a:p>
          <a:p>
            <a:pPr lvl="1"/>
            <a:r>
              <a:rPr lang="en-US" dirty="0"/>
              <a:t>Support flows by widget’s navigation configuration/handling</a:t>
            </a:r>
          </a:p>
          <a:p>
            <a:pPr marL="284077" lvl="1" indent="0">
              <a:buNone/>
            </a:pPr>
            <a:endParaRPr lang="en-US" dirty="0"/>
          </a:p>
          <a:p>
            <a:r>
              <a:rPr lang="en-US" dirty="0"/>
              <a:t>Embed a Flow </a:t>
            </a:r>
          </a:p>
          <a:p>
            <a:pPr lvl="1"/>
            <a:r>
              <a:rPr lang="en-US" dirty="0"/>
              <a:t>Same API as embedding a widget</a:t>
            </a:r>
          </a:p>
          <a:p>
            <a:pPr lvl="1"/>
            <a:r>
              <a:rPr lang="en-US" dirty="0"/>
              <a:t>Navigation will be internal to the widget</a:t>
            </a:r>
          </a:p>
          <a:p>
            <a:pPr lvl="1"/>
            <a:endParaRPr lang="en-US" dirty="0"/>
          </a:p>
          <a:p>
            <a:r>
              <a:rPr lang="en-US" dirty="0"/>
              <a:t>Embed a Frame (e.g. iframe)</a:t>
            </a:r>
          </a:p>
          <a:p>
            <a:pPr lvl="1"/>
            <a:r>
              <a:rPr lang="en-US" dirty="0"/>
              <a:t>Entire flow runs in fully isolated frame 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6219" y="1938715"/>
            <a:ext cx="1505972" cy="126956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90044" y="1938715"/>
            <a:ext cx="1496706" cy="1269569"/>
          </a:xfrm>
          <a:prstGeom prst="rect">
            <a:avLst/>
          </a:prstGeom>
        </p:spPr>
      </p:pic>
      <p:sp>
        <p:nvSpPr>
          <p:cNvPr id="31" name="Right Arrow 30"/>
          <p:cNvSpPr/>
          <p:nvPr/>
        </p:nvSpPr>
        <p:spPr>
          <a:xfrm>
            <a:off x="9442583" y="2255956"/>
            <a:ext cx="690466" cy="317543"/>
          </a:xfrm>
          <a:prstGeom prst="rightArrow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46219" y="3407067"/>
            <a:ext cx="4034422" cy="1578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14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lone widget demo p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1179425"/>
          </a:xfrm>
        </p:spPr>
        <p:txBody>
          <a:bodyPr/>
          <a:lstStyle/>
          <a:p>
            <a:r>
              <a:rPr lang="en-US" dirty="0"/>
              <a:t>Each widget comes with a demo page</a:t>
            </a:r>
          </a:p>
          <a:p>
            <a:r>
              <a:rPr lang="en-US" dirty="0"/>
              <a:t>Ability to customize the widget based on </a:t>
            </a:r>
            <a:r>
              <a:rPr lang="en-US" dirty="0" err="1"/>
              <a:t>config</a:t>
            </a:r>
            <a:endParaRPr lang="en-US" dirty="0"/>
          </a:p>
          <a:p>
            <a:r>
              <a:rPr lang="en-US" dirty="0"/>
              <a:t>Responsive desig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5959" y="3460717"/>
            <a:ext cx="4653374" cy="280942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2646" y="4023995"/>
            <a:ext cx="6245289" cy="20817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2172" y="4512339"/>
            <a:ext cx="5442990" cy="223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58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88421" y="2932866"/>
            <a:ext cx="10211982" cy="2623712"/>
          </a:xfrm>
          <a:prstGeom prst="rect">
            <a:avLst/>
          </a:prstGeom>
          <a:noFill/>
          <a:ln>
            <a:solidFill>
              <a:srgbClr val="A3A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44C6187-46E5-421A-8573-FC52286C6718}"/>
              </a:ext>
            </a:extLst>
          </p:cNvPr>
          <p:cNvSpPr/>
          <p:nvPr/>
        </p:nvSpPr>
        <p:spPr>
          <a:xfrm>
            <a:off x="9524944" y="3056082"/>
            <a:ext cx="1554742" cy="2389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 err="1">
              <a:solidFill>
                <a:prstClr val="white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944F201-F4CB-4C1F-A672-260594BED1BC}"/>
              </a:ext>
            </a:extLst>
          </p:cNvPr>
          <p:cNvSpPr/>
          <p:nvPr/>
        </p:nvSpPr>
        <p:spPr>
          <a:xfrm>
            <a:off x="9519128" y="3355253"/>
            <a:ext cx="1554742" cy="2017951"/>
          </a:xfrm>
          <a:prstGeom prst="rect">
            <a:avLst/>
          </a:prstGeom>
          <a:noFill/>
          <a:ln w="15875">
            <a:noFill/>
          </a:ln>
        </p:spPr>
        <p:txBody>
          <a:bodyPr wrap="square" lIns="91416" tIns="146266" rIns="91416" bIns="146266" rtlCol="0" anchor="b" anchorCtr="0">
            <a:noAutofit/>
          </a:bodyPr>
          <a:lstStyle/>
          <a:p>
            <a:pPr marL="6348" marR="5078" indent="-635" algn="ctr" defTabSz="914126">
              <a:lnSpc>
                <a:spcPct val="90000"/>
              </a:lnSpc>
              <a:spcBef>
                <a:spcPts val="300"/>
              </a:spcBef>
              <a:defRPr/>
            </a:pPr>
            <a:r>
              <a:rPr lang="en-US" sz="1600" b="1" dirty="0">
                <a:solidFill>
                  <a:srgbClr val="000000"/>
                </a:solidFill>
              </a:rPr>
              <a:t>PLATFORM</a:t>
            </a:r>
          </a:p>
          <a:p>
            <a:pPr marL="6348" marR="5078" indent="-635" algn="ctr" defTabSz="914126">
              <a:lnSpc>
                <a:spcPct val="90000"/>
              </a:lnSpc>
              <a:spcBef>
                <a:spcPts val="1200"/>
              </a:spcBef>
              <a:defRPr/>
            </a:pPr>
            <a:r>
              <a:rPr lang="en-US" sz="1050" dirty="0">
                <a:solidFill>
                  <a:srgbClr val="000000"/>
                </a:solidFill>
              </a:rPr>
              <a:t>Expose commerce and care services, through REST APIs, comply with TMF</a:t>
            </a:r>
          </a:p>
        </p:txBody>
      </p:sp>
      <p:sp>
        <p:nvSpPr>
          <p:cNvPr id="98" name="Rectangle 97"/>
          <p:cNvSpPr/>
          <p:nvPr/>
        </p:nvSpPr>
        <p:spPr>
          <a:xfrm>
            <a:off x="988421" y="1578007"/>
            <a:ext cx="10211982" cy="13187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200" dirty="0">
              <a:solidFill>
                <a:srgbClr val="302E45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1126336" y="2059180"/>
            <a:ext cx="1554075" cy="785320"/>
          </a:xfrm>
          <a:prstGeom prst="rect">
            <a:avLst/>
          </a:prstGeom>
          <a:noFill/>
          <a:ln w="12700" cap="sq">
            <a:solidFill>
              <a:schemeClr val="accent6">
                <a:lumMod val="9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08" rIns="0" bIns="9141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defRPr/>
            </a:pPr>
            <a:r>
              <a:rPr lang="en-US" sz="1200" b="1" dirty="0">
                <a:solidFill>
                  <a:srgbClr val="626469"/>
                </a:solidFill>
              </a:rPr>
              <a:t>Mobile &amp; Web</a:t>
            </a:r>
          </a:p>
        </p:txBody>
      </p:sp>
      <p:sp>
        <p:nvSpPr>
          <p:cNvPr id="77" name="Rectangle 76"/>
          <p:cNvSpPr/>
          <p:nvPr/>
        </p:nvSpPr>
        <p:spPr>
          <a:xfrm>
            <a:off x="2835456" y="2059180"/>
            <a:ext cx="1554075" cy="785320"/>
          </a:xfrm>
          <a:prstGeom prst="rect">
            <a:avLst/>
          </a:prstGeom>
          <a:noFill/>
          <a:ln w="12700" cap="sq">
            <a:solidFill>
              <a:schemeClr val="accent6">
                <a:lumMod val="9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08" rIns="0" bIns="9141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defRPr/>
            </a:pPr>
            <a:r>
              <a:rPr lang="en-US" sz="1200" b="1" dirty="0">
                <a:solidFill>
                  <a:srgbClr val="F2665F"/>
                </a:solidFill>
              </a:rPr>
              <a:t>In-store</a:t>
            </a:r>
          </a:p>
        </p:txBody>
      </p:sp>
      <p:sp>
        <p:nvSpPr>
          <p:cNvPr id="78" name="Rectangle 77"/>
          <p:cNvSpPr/>
          <p:nvPr/>
        </p:nvSpPr>
        <p:spPr>
          <a:xfrm>
            <a:off x="4518825" y="2059180"/>
            <a:ext cx="1554075" cy="785320"/>
          </a:xfrm>
          <a:prstGeom prst="rect">
            <a:avLst/>
          </a:prstGeom>
          <a:noFill/>
          <a:ln w="12700" cap="sq">
            <a:solidFill>
              <a:schemeClr val="accent6">
                <a:lumMod val="9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08" rIns="0" bIns="9141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defRPr/>
            </a:pPr>
            <a:r>
              <a:rPr lang="en-US" sz="1200" b="1" dirty="0">
                <a:solidFill>
                  <a:srgbClr val="EC008C"/>
                </a:solidFill>
              </a:rPr>
              <a:t>Call center</a:t>
            </a:r>
          </a:p>
        </p:txBody>
      </p:sp>
      <p:sp>
        <p:nvSpPr>
          <p:cNvPr id="79" name="Rectangle 78"/>
          <p:cNvSpPr/>
          <p:nvPr/>
        </p:nvSpPr>
        <p:spPr>
          <a:xfrm>
            <a:off x="1126336" y="1665838"/>
            <a:ext cx="1554075" cy="41137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 cap="sq">
            <a:solidFill>
              <a:schemeClr val="accent4">
                <a:lumMod val="40000"/>
                <a:lumOff val="6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defRPr/>
            </a:pPr>
            <a:r>
              <a:rPr lang="en-US" sz="1200" dirty="0">
                <a:solidFill>
                  <a:srgbClr val="FFFFFF"/>
                </a:solidFill>
              </a:rPr>
              <a:t>SELF-SERVICE</a:t>
            </a:r>
          </a:p>
        </p:txBody>
      </p:sp>
      <p:sp>
        <p:nvSpPr>
          <p:cNvPr id="80" name="Rectangle 79"/>
          <p:cNvSpPr/>
          <p:nvPr/>
        </p:nvSpPr>
        <p:spPr>
          <a:xfrm>
            <a:off x="2835456" y="1665838"/>
            <a:ext cx="1554075" cy="411373"/>
          </a:xfrm>
          <a:prstGeom prst="rect">
            <a:avLst/>
          </a:prstGeom>
          <a:solidFill>
            <a:schemeClr val="accent2"/>
          </a:solidFill>
          <a:ln w="1270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1200" dirty="0">
                <a:solidFill>
                  <a:srgbClr val="FFFFFF"/>
                </a:solidFill>
              </a:rPr>
              <a:t>RETAIL</a:t>
            </a:r>
          </a:p>
        </p:txBody>
      </p:sp>
      <p:sp>
        <p:nvSpPr>
          <p:cNvPr id="81" name="Rectangle 80"/>
          <p:cNvSpPr/>
          <p:nvPr/>
        </p:nvSpPr>
        <p:spPr>
          <a:xfrm>
            <a:off x="4518825" y="1665838"/>
            <a:ext cx="1554075" cy="411373"/>
          </a:xfrm>
          <a:prstGeom prst="rect">
            <a:avLst/>
          </a:prstGeom>
          <a:solidFill>
            <a:schemeClr val="accent3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1200" dirty="0">
                <a:solidFill>
                  <a:srgbClr val="FFFFFF"/>
                </a:solidFill>
              </a:rPr>
              <a:t>CRM</a:t>
            </a:r>
          </a:p>
        </p:txBody>
      </p:sp>
      <p:sp>
        <p:nvSpPr>
          <p:cNvPr id="90" name="Rectangle 89"/>
          <p:cNvSpPr/>
          <p:nvPr/>
        </p:nvSpPr>
        <p:spPr>
          <a:xfrm>
            <a:off x="6189317" y="2059180"/>
            <a:ext cx="1554075" cy="785320"/>
          </a:xfrm>
          <a:prstGeom prst="rect">
            <a:avLst/>
          </a:prstGeom>
          <a:noFill/>
          <a:ln w="12700" cap="sq">
            <a:solidFill>
              <a:schemeClr val="accent6">
                <a:lumMod val="9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08" rIns="0" bIns="9141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defRPr/>
            </a:pPr>
            <a:r>
              <a:rPr lang="en-US" sz="1200" b="1" dirty="0">
                <a:solidFill>
                  <a:srgbClr val="F9AFA1"/>
                </a:solidFill>
              </a:rPr>
              <a:t>Web </a:t>
            </a:r>
          </a:p>
        </p:txBody>
      </p:sp>
      <p:sp>
        <p:nvSpPr>
          <p:cNvPr id="91" name="Rectangle 90"/>
          <p:cNvSpPr/>
          <p:nvPr/>
        </p:nvSpPr>
        <p:spPr>
          <a:xfrm>
            <a:off x="6185474" y="1665838"/>
            <a:ext cx="1557919" cy="41137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1200" dirty="0">
                <a:solidFill>
                  <a:srgbClr val="FFFFFF"/>
                </a:solidFill>
              </a:rPr>
              <a:t>ENTERPRISE PORTAL</a:t>
            </a:r>
          </a:p>
        </p:txBody>
      </p:sp>
      <p:sp>
        <p:nvSpPr>
          <p:cNvPr id="108" name="Rectangle 107"/>
          <p:cNvSpPr/>
          <p:nvPr/>
        </p:nvSpPr>
        <p:spPr>
          <a:xfrm>
            <a:off x="7855966" y="2059180"/>
            <a:ext cx="1554075" cy="785320"/>
          </a:xfrm>
          <a:prstGeom prst="rect">
            <a:avLst/>
          </a:prstGeom>
          <a:noFill/>
          <a:ln w="12700" cap="sq">
            <a:solidFill>
              <a:schemeClr val="accent6">
                <a:lumMod val="9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08" rIns="0" bIns="9141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defRPr/>
            </a:pPr>
            <a:r>
              <a:rPr lang="en-US" sz="1200" b="1" dirty="0">
                <a:solidFill>
                  <a:srgbClr val="626469"/>
                </a:solidFill>
              </a:rPr>
              <a:t>Social / Chat / </a:t>
            </a:r>
            <a:r>
              <a:rPr lang="en-US" sz="1200" b="1" dirty="0" err="1">
                <a:solidFill>
                  <a:srgbClr val="626469"/>
                </a:solidFill>
              </a:rPr>
              <a:t>SmartBot</a:t>
            </a:r>
            <a:endParaRPr lang="en-US" sz="1200" b="1" dirty="0">
              <a:solidFill>
                <a:srgbClr val="626469"/>
              </a:solidFill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7855966" y="1665838"/>
            <a:ext cx="1554075" cy="411373"/>
          </a:xfrm>
          <a:prstGeom prst="rect">
            <a:avLst/>
          </a:prstGeom>
          <a:solidFill>
            <a:schemeClr val="accent5"/>
          </a:solidFill>
          <a:ln w="12700" cap="sq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defRPr/>
            </a:pPr>
            <a:r>
              <a:rPr lang="en-US" sz="1200" dirty="0">
                <a:solidFill>
                  <a:srgbClr val="FFFFFF"/>
                </a:solidFill>
              </a:rPr>
              <a:t>CHANNEL EXTENSIONS</a:t>
            </a:r>
          </a:p>
        </p:txBody>
      </p:sp>
      <p:sp>
        <p:nvSpPr>
          <p:cNvPr id="111" name="Freeform 12"/>
          <p:cNvSpPr>
            <a:spLocks noChangeAspect="1" noEditPoints="1"/>
          </p:cNvSpPr>
          <p:nvPr/>
        </p:nvSpPr>
        <p:spPr bwMode="black">
          <a:xfrm>
            <a:off x="8385149" y="2131031"/>
            <a:ext cx="376484" cy="227260"/>
          </a:xfrm>
          <a:custGeom>
            <a:avLst/>
            <a:gdLst>
              <a:gd name="T0" fmla="*/ 292 w 349"/>
              <a:gd name="T1" fmla="*/ 160 h 211"/>
              <a:gd name="T2" fmla="*/ 230 w 349"/>
              <a:gd name="T3" fmla="*/ 131 h 211"/>
              <a:gd name="T4" fmla="*/ 227 w 349"/>
              <a:gd name="T5" fmla="*/ 136 h 211"/>
              <a:gd name="T6" fmla="*/ 265 w 349"/>
              <a:gd name="T7" fmla="*/ 177 h 211"/>
              <a:gd name="T8" fmla="*/ 204 w 349"/>
              <a:gd name="T9" fmla="*/ 147 h 211"/>
              <a:gd name="T10" fmla="*/ 200 w 349"/>
              <a:gd name="T11" fmla="*/ 152 h 211"/>
              <a:gd name="T12" fmla="*/ 238 w 349"/>
              <a:gd name="T13" fmla="*/ 193 h 211"/>
              <a:gd name="T14" fmla="*/ 191 w 349"/>
              <a:gd name="T15" fmla="*/ 174 h 211"/>
              <a:gd name="T16" fmla="*/ 188 w 349"/>
              <a:gd name="T17" fmla="*/ 178 h 211"/>
              <a:gd name="T18" fmla="*/ 208 w 349"/>
              <a:gd name="T19" fmla="*/ 205 h 211"/>
              <a:gd name="T20" fmla="*/ 172 w 349"/>
              <a:gd name="T21" fmla="*/ 194 h 211"/>
              <a:gd name="T22" fmla="*/ 176 w 349"/>
              <a:gd name="T23" fmla="*/ 172 h 211"/>
              <a:gd name="T24" fmla="*/ 154 w 349"/>
              <a:gd name="T25" fmla="*/ 146 h 211"/>
              <a:gd name="T26" fmla="*/ 133 w 349"/>
              <a:gd name="T27" fmla="*/ 127 h 211"/>
              <a:gd name="T28" fmla="*/ 114 w 349"/>
              <a:gd name="T29" fmla="*/ 130 h 211"/>
              <a:gd name="T30" fmla="*/ 101 w 349"/>
              <a:gd name="T31" fmla="*/ 124 h 211"/>
              <a:gd name="T32" fmla="*/ 72 w 349"/>
              <a:gd name="T33" fmla="*/ 121 h 211"/>
              <a:gd name="T34" fmla="*/ 48 w 349"/>
              <a:gd name="T35" fmla="*/ 135 h 211"/>
              <a:gd name="T36" fmla="*/ 71 w 349"/>
              <a:gd name="T37" fmla="*/ 27 h 211"/>
              <a:gd name="T38" fmla="*/ 75 w 349"/>
              <a:gd name="T39" fmla="*/ 46 h 211"/>
              <a:gd name="T40" fmla="*/ 101 w 349"/>
              <a:gd name="T41" fmla="*/ 79 h 211"/>
              <a:gd name="T42" fmla="*/ 118 w 349"/>
              <a:gd name="T43" fmla="*/ 76 h 211"/>
              <a:gd name="T44" fmla="*/ 158 w 349"/>
              <a:gd name="T45" fmla="*/ 53 h 211"/>
              <a:gd name="T46" fmla="*/ 289 w 349"/>
              <a:gd name="T47" fmla="*/ 140 h 211"/>
              <a:gd name="T48" fmla="*/ 242 w 349"/>
              <a:gd name="T49" fmla="*/ 37 h 211"/>
              <a:gd name="T50" fmla="*/ 148 w 349"/>
              <a:gd name="T51" fmla="*/ 4 h 211"/>
              <a:gd name="T52" fmla="*/ 94 w 349"/>
              <a:gd name="T53" fmla="*/ 33 h 211"/>
              <a:gd name="T54" fmla="*/ 102 w 349"/>
              <a:gd name="T55" fmla="*/ 70 h 211"/>
              <a:gd name="T56" fmla="*/ 113 w 349"/>
              <a:gd name="T57" fmla="*/ 67 h 211"/>
              <a:gd name="T58" fmla="*/ 188 w 349"/>
              <a:gd name="T59" fmla="*/ 56 h 211"/>
              <a:gd name="T60" fmla="*/ 294 w 349"/>
              <a:gd name="T61" fmla="*/ 133 h 211"/>
              <a:gd name="T62" fmla="*/ 314 w 349"/>
              <a:gd name="T63" fmla="*/ 130 h 211"/>
              <a:gd name="T64" fmla="*/ 253 w 349"/>
              <a:gd name="T65" fmla="*/ 41 h 211"/>
              <a:gd name="T66" fmla="*/ 139 w 349"/>
              <a:gd name="T67" fmla="*/ 164 h 211"/>
              <a:gd name="T68" fmla="*/ 130 w 349"/>
              <a:gd name="T69" fmla="*/ 137 h 211"/>
              <a:gd name="T70" fmla="*/ 112 w 349"/>
              <a:gd name="T71" fmla="*/ 149 h 211"/>
              <a:gd name="T72" fmla="*/ 84 w 349"/>
              <a:gd name="T73" fmla="*/ 143 h 211"/>
              <a:gd name="T74" fmla="*/ 67 w 349"/>
              <a:gd name="T75" fmla="*/ 131 h 211"/>
              <a:gd name="T76" fmla="*/ 59 w 349"/>
              <a:gd name="T77" fmla="*/ 168 h 211"/>
              <a:gd name="T78" fmla="*/ 76 w 349"/>
              <a:gd name="T79" fmla="*/ 178 h 211"/>
              <a:gd name="T80" fmla="*/ 90 w 349"/>
              <a:gd name="T81" fmla="*/ 188 h 211"/>
              <a:gd name="T82" fmla="*/ 106 w 349"/>
              <a:gd name="T83" fmla="*/ 181 h 211"/>
              <a:gd name="T84" fmla="*/ 116 w 349"/>
              <a:gd name="T85" fmla="*/ 200 h 211"/>
              <a:gd name="T86" fmla="*/ 131 w 349"/>
              <a:gd name="T87" fmla="*/ 193 h 211"/>
              <a:gd name="T88" fmla="*/ 145 w 349"/>
              <a:gd name="T89" fmla="*/ 209 h 211"/>
              <a:gd name="T90" fmla="*/ 166 w 349"/>
              <a:gd name="T91" fmla="*/ 174 h 211"/>
              <a:gd name="T92" fmla="*/ 349 w 349"/>
              <a:gd name="T93" fmla="*/ 124 h 211"/>
              <a:gd name="T94" fmla="*/ 326 w 349"/>
              <a:gd name="T95" fmla="*/ 22 h 211"/>
              <a:gd name="T96" fmla="*/ 323 w 349"/>
              <a:gd name="T97" fmla="*/ 135 h 211"/>
              <a:gd name="T98" fmla="*/ 349 w 349"/>
              <a:gd name="T99" fmla="*/ 124 h 211"/>
              <a:gd name="T100" fmla="*/ 47 w 349"/>
              <a:gd name="T101" fmla="*/ 11 h 211"/>
              <a:gd name="T102" fmla="*/ 3 w 349"/>
              <a:gd name="T103" fmla="*/ 118 h 211"/>
              <a:gd name="T104" fmla="*/ 35 w 349"/>
              <a:gd name="T105" fmla="*/ 135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49" h="211">
                <a:moveTo>
                  <a:pt x="289" y="140"/>
                </a:moveTo>
                <a:cubicBezTo>
                  <a:pt x="294" y="144"/>
                  <a:pt x="296" y="154"/>
                  <a:pt x="292" y="160"/>
                </a:cubicBezTo>
                <a:cubicBezTo>
                  <a:pt x="289" y="164"/>
                  <a:pt x="285" y="167"/>
                  <a:pt x="279" y="167"/>
                </a:cubicBezTo>
                <a:cubicBezTo>
                  <a:pt x="279" y="167"/>
                  <a:pt x="279" y="167"/>
                  <a:pt x="230" y="131"/>
                </a:cubicBezTo>
                <a:cubicBezTo>
                  <a:pt x="228" y="130"/>
                  <a:pt x="227" y="131"/>
                  <a:pt x="226" y="132"/>
                </a:cubicBezTo>
                <a:cubicBezTo>
                  <a:pt x="226" y="134"/>
                  <a:pt x="226" y="135"/>
                  <a:pt x="227" y="136"/>
                </a:cubicBezTo>
                <a:cubicBezTo>
                  <a:pt x="227" y="136"/>
                  <a:pt x="227" y="136"/>
                  <a:pt x="267" y="164"/>
                </a:cubicBezTo>
                <a:cubicBezTo>
                  <a:pt x="267" y="168"/>
                  <a:pt x="267" y="172"/>
                  <a:pt x="265" y="177"/>
                </a:cubicBezTo>
                <a:cubicBezTo>
                  <a:pt x="262" y="181"/>
                  <a:pt x="257" y="183"/>
                  <a:pt x="253" y="183"/>
                </a:cubicBezTo>
                <a:cubicBezTo>
                  <a:pt x="253" y="183"/>
                  <a:pt x="253" y="183"/>
                  <a:pt x="204" y="147"/>
                </a:cubicBezTo>
                <a:cubicBezTo>
                  <a:pt x="203" y="147"/>
                  <a:pt x="200" y="147"/>
                  <a:pt x="200" y="148"/>
                </a:cubicBezTo>
                <a:cubicBezTo>
                  <a:pt x="199" y="150"/>
                  <a:pt x="199" y="151"/>
                  <a:pt x="200" y="152"/>
                </a:cubicBezTo>
                <a:cubicBezTo>
                  <a:pt x="200" y="152"/>
                  <a:pt x="200" y="152"/>
                  <a:pt x="240" y="181"/>
                </a:cubicBezTo>
                <a:cubicBezTo>
                  <a:pt x="240" y="185"/>
                  <a:pt x="240" y="189"/>
                  <a:pt x="238" y="193"/>
                </a:cubicBezTo>
                <a:cubicBezTo>
                  <a:pt x="235" y="197"/>
                  <a:pt x="231" y="198"/>
                  <a:pt x="226" y="198"/>
                </a:cubicBezTo>
                <a:cubicBezTo>
                  <a:pt x="226" y="198"/>
                  <a:pt x="226" y="198"/>
                  <a:pt x="191" y="174"/>
                </a:cubicBezTo>
                <a:cubicBezTo>
                  <a:pt x="189" y="172"/>
                  <a:pt x="188" y="172"/>
                  <a:pt x="187" y="174"/>
                </a:cubicBezTo>
                <a:cubicBezTo>
                  <a:pt x="187" y="175"/>
                  <a:pt x="187" y="177"/>
                  <a:pt x="188" y="178"/>
                </a:cubicBezTo>
                <a:cubicBezTo>
                  <a:pt x="188" y="178"/>
                  <a:pt x="188" y="178"/>
                  <a:pt x="210" y="194"/>
                </a:cubicBezTo>
                <a:cubicBezTo>
                  <a:pt x="211" y="198"/>
                  <a:pt x="210" y="202"/>
                  <a:pt x="208" y="205"/>
                </a:cubicBezTo>
                <a:cubicBezTo>
                  <a:pt x="204" y="209"/>
                  <a:pt x="200" y="211"/>
                  <a:pt x="196" y="211"/>
                </a:cubicBezTo>
                <a:cubicBezTo>
                  <a:pt x="196" y="211"/>
                  <a:pt x="196" y="211"/>
                  <a:pt x="172" y="194"/>
                </a:cubicBezTo>
                <a:cubicBezTo>
                  <a:pt x="172" y="194"/>
                  <a:pt x="172" y="194"/>
                  <a:pt x="176" y="175"/>
                </a:cubicBezTo>
                <a:cubicBezTo>
                  <a:pt x="176" y="175"/>
                  <a:pt x="176" y="174"/>
                  <a:pt x="176" y="172"/>
                </a:cubicBezTo>
                <a:cubicBezTo>
                  <a:pt x="177" y="160"/>
                  <a:pt x="169" y="150"/>
                  <a:pt x="157" y="147"/>
                </a:cubicBezTo>
                <a:cubicBezTo>
                  <a:pt x="156" y="146"/>
                  <a:pt x="156" y="146"/>
                  <a:pt x="154" y="146"/>
                </a:cubicBezTo>
                <a:cubicBezTo>
                  <a:pt x="153" y="146"/>
                  <a:pt x="152" y="146"/>
                  <a:pt x="150" y="146"/>
                </a:cubicBezTo>
                <a:cubicBezTo>
                  <a:pt x="149" y="136"/>
                  <a:pt x="142" y="130"/>
                  <a:pt x="133" y="127"/>
                </a:cubicBezTo>
                <a:cubicBezTo>
                  <a:pt x="131" y="127"/>
                  <a:pt x="130" y="127"/>
                  <a:pt x="130" y="127"/>
                </a:cubicBezTo>
                <a:cubicBezTo>
                  <a:pt x="123" y="126"/>
                  <a:pt x="118" y="127"/>
                  <a:pt x="114" y="130"/>
                </a:cubicBezTo>
                <a:cubicBezTo>
                  <a:pt x="111" y="127"/>
                  <a:pt x="107" y="124"/>
                  <a:pt x="102" y="124"/>
                </a:cubicBezTo>
                <a:cubicBezTo>
                  <a:pt x="101" y="124"/>
                  <a:pt x="101" y="124"/>
                  <a:pt x="101" y="124"/>
                </a:cubicBezTo>
                <a:cubicBezTo>
                  <a:pt x="95" y="123"/>
                  <a:pt x="90" y="124"/>
                  <a:pt x="86" y="127"/>
                </a:cubicBezTo>
                <a:cubicBezTo>
                  <a:pt x="82" y="124"/>
                  <a:pt x="76" y="121"/>
                  <a:pt x="72" y="121"/>
                </a:cubicBezTo>
                <a:cubicBezTo>
                  <a:pt x="70" y="121"/>
                  <a:pt x="67" y="121"/>
                  <a:pt x="64" y="121"/>
                </a:cubicBezTo>
                <a:cubicBezTo>
                  <a:pt x="56" y="124"/>
                  <a:pt x="51" y="128"/>
                  <a:pt x="48" y="135"/>
                </a:cubicBezTo>
                <a:cubicBezTo>
                  <a:pt x="48" y="135"/>
                  <a:pt x="48" y="135"/>
                  <a:pt x="44" y="134"/>
                </a:cubicBezTo>
                <a:cubicBezTo>
                  <a:pt x="43" y="81"/>
                  <a:pt x="71" y="27"/>
                  <a:pt x="71" y="27"/>
                </a:cubicBezTo>
                <a:cubicBezTo>
                  <a:pt x="71" y="27"/>
                  <a:pt x="76" y="27"/>
                  <a:pt x="84" y="27"/>
                </a:cubicBezTo>
                <a:cubicBezTo>
                  <a:pt x="79" y="33"/>
                  <a:pt x="75" y="40"/>
                  <a:pt x="75" y="46"/>
                </a:cubicBezTo>
                <a:cubicBezTo>
                  <a:pt x="74" y="53"/>
                  <a:pt x="75" y="58"/>
                  <a:pt x="78" y="64"/>
                </a:cubicBezTo>
                <a:cubicBezTo>
                  <a:pt x="83" y="73"/>
                  <a:pt x="91" y="79"/>
                  <a:pt x="101" y="79"/>
                </a:cubicBezTo>
                <a:cubicBezTo>
                  <a:pt x="101" y="79"/>
                  <a:pt x="101" y="79"/>
                  <a:pt x="101" y="79"/>
                </a:cubicBezTo>
                <a:cubicBezTo>
                  <a:pt x="106" y="80"/>
                  <a:pt x="113" y="79"/>
                  <a:pt x="118" y="76"/>
                </a:cubicBezTo>
                <a:cubicBezTo>
                  <a:pt x="118" y="76"/>
                  <a:pt x="118" y="76"/>
                  <a:pt x="122" y="73"/>
                </a:cubicBezTo>
                <a:cubicBezTo>
                  <a:pt x="122" y="73"/>
                  <a:pt x="122" y="73"/>
                  <a:pt x="158" y="53"/>
                </a:cubicBezTo>
                <a:cubicBezTo>
                  <a:pt x="158" y="53"/>
                  <a:pt x="158" y="53"/>
                  <a:pt x="183" y="64"/>
                </a:cubicBezTo>
                <a:cubicBezTo>
                  <a:pt x="183" y="64"/>
                  <a:pt x="183" y="64"/>
                  <a:pt x="289" y="140"/>
                </a:cubicBezTo>
                <a:close/>
                <a:moveTo>
                  <a:pt x="253" y="41"/>
                </a:moveTo>
                <a:cubicBezTo>
                  <a:pt x="250" y="41"/>
                  <a:pt x="246" y="40"/>
                  <a:pt x="242" y="37"/>
                </a:cubicBezTo>
                <a:cubicBezTo>
                  <a:pt x="165" y="2"/>
                  <a:pt x="165" y="2"/>
                  <a:pt x="165" y="2"/>
                </a:cubicBezTo>
                <a:cubicBezTo>
                  <a:pt x="160" y="0"/>
                  <a:pt x="153" y="1"/>
                  <a:pt x="148" y="4"/>
                </a:cubicBezTo>
                <a:cubicBezTo>
                  <a:pt x="117" y="21"/>
                  <a:pt x="117" y="21"/>
                  <a:pt x="117" y="21"/>
                </a:cubicBezTo>
                <a:cubicBezTo>
                  <a:pt x="94" y="33"/>
                  <a:pt x="94" y="33"/>
                  <a:pt x="94" y="33"/>
                </a:cubicBezTo>
                <a:cubicBezTo>
                  <a:pt x="85" y="39"/>
                  <a:pt x="82" y="51"/>
                  <a:pt x="87" y="60"/>
                </a:cubicBezTo>
                <a:cubicBezTo>
                  <a:pt x="90" y="66"/>
                  <a:pt x="96" y="70"/>
                  <a:pt x="102" y="70"/>
                </a:cubicBezTo>
                <a:cubicBezTo>
                  <a:pt x="106" y="70"/>
                  <a:pt x="110" y="70"/>
                  <a:pt x="113" y="67"/>
                </a:cubicBezTo>
                <a:cubicBezTo>
                  <a:pt x="113" y="67"/>
                  <a:pt x="113" y="67"/>
                  <a:pt x="113" y="67"/>
                </a:cubicBezTo>
                <a:cubicBezTo>
                  <a:pt x="159" y="43"/>
                  <a:pt x="159" y="43"/>
                  <a:pt x="159" y="43"/>
                </a:cubicBezTo>
                <a:cubicBezTo>
                  <a:pt x="188" y="56"/>
                  <a:pt x="188" y="56"/>
                  <a:pt x="188" y="56"/>
                </a:cubicBezTo>
                <a:cubicBezTo>
                  <a:pt x="228" y="86"/>
                  <a:pt x="228" y="86"/>
                  <a:pt x="228" y="86"/>
                </a:cubicBezTo>
                <a:cubicBezTo>
                  <a:pt x="294" y="133"/>
                  <a:pt x="294" y="133"/>
                  <a:pt x="294" y="133"/>
                </a:cubicBezTo>
                <a:cubicBezTo>
                  <a:pt x="295" y="134"/>
                  <a:pt x="295" y="134"/>
                  <a:pt x="295" y="134"/>
                </a:cubicBezTo>
                <a:cubicBezTo>
                  <a:pt x="314" y="130"/>
                  <a:pt x="314" y="130"/>
                  <a:pt x="314" y="130"/>
                </a:cubicBezTo>
                <a:cubicBezTo>
                  <a:pt x="317" y="68"/>
                  <a:pt x="289" y="39"/>
                  <a:pt x="289" y="39"/>
                </a:cubicBezTo>
                <a:cubicBezTo>
                  <a:pt x="289" y="39"/>
                  <a:pt x="261" y="44"/>
                  <a:pt x="253" y="41"/>
                </a:cubicBezTo>
                <a:close/>
                <a:moveTo>
                  <a:pt x="155" y="157"/>
                </a:moveTo>
                <a:cubicBezTo>
                  <a:pt x="149" y="156"/>
                  <a:pt x="142" y="158"/>
                  <a:pt x="139" y="164"/>
                </a:cubicBezTo>
                <a:cubicBezTo>
                  <a:pt x="141" y="154"/>
                  <a:pt x="141" y="154"/>
                  <a:pt x="141" y="154"/>
                </a:cubicBezTo>
                <a:cubicBezTo>
                  <a:pt x="143" y="146"/>
                  <a:pt x="138" y="138"/>
                  <a:pt x="130" y="137"/>
                </a:cubicBezTo>
                <a:cubicBezTo>
                  <a:pt x="122" y="135"/>
                  <a:pt x="114" y="139"/>
                  <a:pt x="112" y="148"/>
                </a:cubicBezTo>
                <a:cubicBezTo>
                  <a:pt x="112" y="149"/>
                  <a:pt x="112" y="149"/>
                  <a:pt x="112" y="149"/>
                </a:cubicBezTo>
                <a:cubicBezTo>
                  <a:pt x="112" y="142"/>
                  <a:pt x="107" y="135"/>
                  <a:pt x="100" y="134"/>
                </a:cubicBezTo>
                <a:cubicBezTo>
                  <a:pt x="94" y="133"/>
                  <a:pt x="86" y="137"/>
                  <a:pt x="84" y="143"/>
                </a:cubicBezTo>
                <a:cubicBezTo>
                  <a:pt x="84" y="143"/>
                  <a:pt x="84" y="143"/>
                  <a:pt x="84" y="143"/>
                </a:cubicBezTo>
                <a:cubicBezTo>
                  <a:pt x="82" y="135"/>
                  <a:pt x="74" y="130"/>
                  <a:pt x="67" y="131"/>
                </a:cubicBezTo>
                <a:cubicBezTo>
                  <a:pt x="59" y="134"/>
                  <a:pt x="53" y="141"/>
                  <a:pt x="55" y="149"/>
                </a:cubicBezTo>
                <a:cubicBezTo>
                  <a:pt x="59" y="168"/>
                  <a:pt x="59" y="168"/>
                  <a:pt x="59" y="168"/>
                </a:cubicBezTo>
                <a:cubicBezTo>
                  <a:pt x="60" y="173"/>
                  <a:pt x="65" y="178"/>
                  <a:pt x="72" y="178"/>
                </a:cubicBezTo>
                <a:cubicBezTo>
                  <a:pt x="74" y="178"/>
                  <a:pt x="75" y="178"/>
                  <a:pt x="76" y="178"/>
                </a:cubicBezTo>
                <a:cubicBezTo>
                  <a:pt x="78" y="178"/>
                  <a:pt x="78" y="178"/>
                  <a:pt x="79" y="177"/>
                </a:cubicBezTo>
                <a:cubicBezTo>
                  <a:pt x="80" y="182"/>
                  <a:pt x="84" y="186"/>
                  <a:pt x="90" y="188"/>
                </a:cubicBezTo>
                <a:cubicBezTo>
                  <a:pt x="91" y="188"/>
                  <a:pt x="91" y="188"/>
                  <a:pt x="91" y="188"/>
                </a:cubicBezTo>
                <a:cubicBezTo>
                  <a:pt x="96" y="188"/>
                  <a:pt x="102" y="185"/>
                  <a:pt x="106" y="181"/>
                </a:cubicBezTo>
                <a:cubicBezTo>
                  <a:pt x="104" y="182"/>
                  <a:pt x="104" y="182"/>
                  <a:pt x="104" y="182"/>
                </a:cubicBezTo>
                <a:cubicBezTo>
                  <a:pt x="103" y="189"/>
                  <a:pt x="108" y="197"/>
                  <a:pt x="116" y="200"/>
                </a:cubicBezTo>
                <a:cubicBezTo>
                  <a:pt x="116" y="200"/>
                  <a:pt x="116" y="200"/>
                  <a:pt x="118" y="200"/>
                </a:cubicBezTo>
                <a:cubicBezTo>
                  <a:pt x="123" y="200"/>
                  <a:pt x="129" y="197"/>
                  <a:pt x="131" y="193"/>
                </a:cubicBezTo>
                <a:cubicBezTo>
                  <a:pt x="131" y="200"/>
                  <a:pt x="135" y="206"/>
                  <a:pt x="143" y="209"/>
                </a:cubicBezTo>
                <a:cubicBezTo>
                  <a:pt x="143" y="209"/>
                  <a:pt x="143" y="209"/>
                  <a:pt x="145" y="209"/>
                </a:cubicBezTo>
                <a:cubicBezTo>
                  <a:pt x="151" y="209"/>
                  <a:pt x="158" y="205"/>
                  <a:pt x="161" y="197"/>
                </a:cubicBezTo>
                <a:cubicBezTo>
                  <a:pt x="166" y="174"/>
                  <a:pt x="166" y="174"/>
                  <a:pt x="166" y="174"/>
                </a:cubicBezTo>
                <a:cubicBezTo>
                  <a:pt x="168" y="166"/>
                  <a:pt x="162" y="158"/>
                  <a:pt x="155" y="157"/>
                </a:cubicBezTo>
                <a:close/>
                <a:moveTo>
                  <a:pt x="349" y="124"/>
                </a:moveTo>
                <a:cubicBezTo>
                  <a:pt x="338" y="30"/>
                  <a:pt x="338" y="30"/>
                  <a:pt x="338" y="30"/>
                </a:cubicBezTo>
                <a:cubicBezTo>
                  <a:pt x="337" y="24"/>
                  <a:pt x="332" y="21"/>
                  <a:pt x="326" y="22"/>
                </a:cubicBezTo>
                <a:cubicBezTo>
                  <a:pt x="294" y="30"/>
                  <a:pt x="294" y="30"/>
                  <a:pt x="294" y="30"/>
                </a:cubicBezTo>
                <a:cubicBezTo>
                  <a:pt x="294" y="30"/>
                  <a:pt x="328" y="64"/>
                  <a:pt x="323" y="135"/>
                </a:cubicBezTo>
                <a:cubicBezTo>
                  <a:pt x="338" y="135"/>
                  <a:pt x="338" y="135"/>
                  <a:pt x="338" y="135"/>
                </a:cubicBezTo>
                <a:cubicBezTo>
                  <a:pt x="345" y="135"/>
                  <a:pt x="349" y="130"/>
                  <a:pt x="349" y="124"/>
                </a:cubicBezTo>
                <a:close/>
                <a:moveTo>
                  <a:pt x="63" y="21"/>
                </a:moveTo>
                <a:cubicBezTo>
                  <a:pt x="47" y="11"/>
                  <a:pt x="47" y="11"/>
                  <a:pt x="47" y="11"/>
                </a:cubicBezTo>
                <a:cubicBezTo>
                  <a:pt x="42" y="9"/>
                  <a:pt x="36" y="11"/>
                  <a:pt x="34" y="17"/>
                </a:cubicBezTo>
                <a:cubicBezTo>
                  <a:pt x="3" y="118"/>
                  <a:pt x="3" y="118"/>
                  <a:pt x="3" y="118"/>
                </a:cubicBezTo>
                <a:cubicBezTo>
                  <a:pt x="0" y="124"/>
                  <a:pt x="4" y="130"/>
                  <a:pt x="9" y="130"/>
                </a:cubicBezTo>
                <a:cubicBezTo>
                  <a:pt x="35" y="135"/>
                  <a:pt x="35" y="135"/>
                  <a:pt x="35" y="135"/>
                </a:cubicBezTo>
                <a:cubicBezTo>
                  <a:pt x="32" y="79"/>
                  <a:pt x="63" y="21"/>
                  <a:pt x="63" y="2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>
              <a:defRPr/>
            </a:pPr>
            <a:endParaRPr lang="en-US" sz="1799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126329" y="3907364"/>
            <a:ext cx="8283046" cy="79385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</p:spPr>
        <p:txBody>
          <a:bodyPr wrap="square" lIns="182832" tIns="146266" rIns="182832" bIns="146266" rtlCol="0" anchor="ctr" anchorCtr="0">
            <a:noAutofit/>
          </a:bodyPr>
          <a:lstStyle/>
          <a:p>
            <a:pPr marL="6348" marR="5078" indent="-635" algn="ctr" defTabSz="914126">
              <a:lnSpc>
                <a:spcPct val="90000"/>
              </a:lnSpc>
            </a:pPr>
            <a:r>
              <a:rPr lang="en-US" sz="1799" dirty="0">
                <a:solidFill>
                  <a:prstClr val="white"/>
                </a:solidFill>
              </a:rPr>
              <a:t>DIGITAL MICROSERVICES LAYER</a:t>
            </a:r>
          </a:p>
          <a:p>
            <a:pPr marL="6348" marR="5078" indent="-635" algn="ctr" defTabSz="914126">
              <a:lnSpc>
                <a:spcPct val="90000"/>
              </a:lnSpc>
            </a:pPr>
            <a:r>
              <a:rPr lang="en-US" sz="1799" dirty="0">
                <a:solidFill>
                  <a:prstClr val="white"/>
                </a:solidFill>
              </a:rPr>
              <a:t>Commerce &amp; Care</a:t>
            </a:r>
          </a:p>
        </p:txBody>
      </p:sp>
      <p:sp>
        <p:nvSpPr>
          <p:cNvPr id="112" name="Rectangle 111"/>
          <p:cNvSpPr/>
          <p:nvPr/>
        </p:nvSpPr>
        <p:spPr>
          <a:xfrm>
            <a:off x="1126337" y="3030609"/>
            <a:ext cx="8283705" cy="79539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5875">
            <a:noFill/>
          </a:ln>
        </p:spPr>
        <p:txBody>
          <a:bodyPr wrap="square" lIns="182832" tIns="146266" rIns="182832" bIns="146266" rtlCol="0" anchor="ctr" anchorCtr="0">
            <a:noAutofit/>
          </a:bodyPr>
          <a:lstStyle/>
          <a:p>
            <a:pPr marL="6348" marR="5078" indent="-635" algn="ctr" defTabSz="914126">
              <a:lnSpc>
                <a:spcPct val="90000"/>
              </a:lnSpc>
            </a:pPr>
            <a:r>
              <a:rPr lang="en-US" sz="1799" dirty="0">
                <a:solidFill>
                  <a:prstClr val="white"/>
                </a:solidFill>
              </a:rPr>
              <a:t>DIGITAL EXPERIENCE LAYER</a:t>
            </a:r>
          </a:p>
        </p:txBody>
      </p:sp>
      <p:sp>
        <p:nvSpPr>
          <p:cNvPr id="116" name="Rectangle 115"/>
          <p:cNvSpPr/>
          <p:nvPr/>
        </p:nvSpPr>
        <p:spPr>
          <a:xfrm>
            <a:off x="1126323" y="5112228"/>
            <a:ext cx="8283053" cy="333680"/>
          </a:xfrm>
          <a:prstGeom prst="rect">
            <a:avLst/>
          </a:prstGeom>
          <a:solidFill>
            <a:schemeClr val="bg2"/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497" tIns="45708" rIns="91416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lnSpc>
                <a:spcPct val="90000"/>
              </a:lnSpc>
            </a:pPr>
            <a:r>
              <a:rPr lang="en-US" sz="1200" b="1" dirty="0">
                <a:solidFill>
                  <a:srgbClr val="302E45"/>
                </a:solidFill>
              </a:rPr>
              <a:t>Integration Layer</a:t>
            </a:r>
          </a:p>
        </p:txBody>
      </p:sp>
      <p:sp>
        <p:nvSpPr>
          <p:cNvPr id="59" name="Rectangle 58"/>
          <p:cNvSpPr/>
          <p:nvPr/>
        </p:nvSpPr>
        <p:spPr>
          <a:xfrm>
            <a:off x="1126329" y="4758645"/>
            <a:ext cx="8283712" cy="296158"/>
          </a:xfrm>
          <a:prstGeom prst="rect">
            <a:avLst/>
          </a:prstGeom>
          <a:solidFill>
            <a:schemeClr val="bg2"/>
          </a:solidFill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497" tIns="45708" rIns="91416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lnSpc>
                <a:spcPct val="90000"/>
              </a:lnSpc>
            </a:pPr>
            <a:r>
              <a:rPr lang="en-US" sz="1200" b="1" dirty="0">
                <a:solidFill>
                  <a:srgbClr val="302E45"/>
                </a:solidFill>
              </a:rPr>
              <a:t>Intelligence Platform aia</a:t>
            </a:r>
            <a:endParaRPr lang="en-US" sz="1400" b="1" dirty="0">
              <a:solidFill>
                <a:srgbClr val="302E45"/>
              </a:solidFill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B117E2-16C5-4675-8E47-CDEA5F325521}"/>
              </a:ext>
            </a:extLst>
          </p:cNvPr>
          <p:cNvSpPr/>
          <p:nvPr/>
        </p:nvSpPr>
        <p:spPr>
          <a:xfrm>
            <a:off x="988421" y="5647057"/>
            <a:ext cx="8420954" cy="489238"/>
          </a:xfrm>
          <a:prstGeom prst="rect">
            <a:avLst/>
          </a:prstGeom>
          <a:solidFill>
            <a:srgbClr val="626469"/>
          </a:solidFill>
          <a:ln w="15875">
            <a:noFill/>
          </a:ln>
        </p:spPr>
        <p:txBody>
          <a:bodyPr wrap="square" lIns="182832" tIns="146266" rIns="182832" bIns="146266" rtlCol="0" anchor="ctr" anchorCtr="0">
            <a:spAutoFit/>
          </a:bodyPr>
          <a:lstStyle/>
          <a:p>
            <a:pPr marL="6348" marR="5078" indent="-635" algn="ctr" defTabSz="914126">
              <a:lnSpc>
                <a:spcPct val="90000"/>
              </a:lnSpc>
              <a:spcBef>
                <a:spcPts val="300"/>
              </a:spcBef>
              <a:defRPr/>
            </a:pPr>
            <a:r>
              <a:rPr lang="en-US" sz="1400" dirty="0">
                <a:solidFill>
                  <a:prstClr val="white"/>
                </a:solidFill>
              </a:rPr>
              <a:t>Amdocs CES: charging/order handling/billing  |  Amdocs Ensemble/Kenan/any BSS system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F1036C5-06D1-4359-98D1-02DF543959AC}"/>
              </a:ext>
            </a:extLst>
          </p:cNvPr>
          <p:cNvSpPr/>
          <p:nvPr/>
        </p:nvSpPr>
        <p:spPr>
          <a:xfrm>
            <a:off x="9524943" y="5647056"/>
            <a:ext cx="1675460" cy="489238"/>
          </a:xfrm>
          <a:prstGeom prst="rect">
            <a:avLst/>
          </a:prstGeom>
          <a:solidFill>
            <a:srgbClr val="626469"/>
          </a:solidFill>
          <a:ln w="15875">
            <a:noFill/>
          </a:ln>
        </p:spPr>
        <p:txBody>
          <a:bodyPr wrap="square" lIns="182832" tIns="146266" rIns="182832" bIns="146266" rtlCol="0" anchor="ctr" anchorCtr="0">
            <a:noAutofit/>
          </a:bodyPr>
          <a:lstStyle/>
          <a:p>
            <a:pPr marL="6348" marR="5078" indent="-635" algn="ctr" defTabSz="914126">
              <a:lnSpc>
                <a:spcPct val="90000"/>
              </a:lnSpc>
              <a:spcBef>
                <a:spcPts val="300"/>
              </a:spcBef>
              <a:defRPr/>
            </a:pPr>
            <a:r>
              <a:rPr lang="en-US" sz="1200" dirty="0">
                <a:solidFill>
                  <a:prstClr val="white"/>
                </a:solidFill>
              </a:rPr>
              <a:t>Back-end engines</a:t>
            </a:r>
          </a:p>
        </p:txBody>
      </p:sp>
      <p:sp>
        <p:nvSpPr>
          <p:cNvPr id="38" name="Title 6">
            <a:extLst>
              <a:ext uri="{FF2B5EF4-FFF2-40B4-BE49-F238E27FC236}">
                <a16:creationId xmlns:a16="http://schemas.microsoft.com/office/drawing/2014/main" id="{F5C6A117-F2B3-4D19-A6EC-F7A5209673CB}"/>
              </a:ext>
            </a:extLst>
          </p:cNvPr>
          <p:cNvSpPr txBox="1">
            <a:spLocks/>
          </p:cNvSpPr>
          <p:nvPr/>
        </p:nvSpPr>
        <p:spPr>
          <a:xfrm>
            <a:off x="546378" y="450801"/>
            <a:ext cx="11088784" cy="5538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599" dirty="0">
                <a:solidFill>
                  <a:srgbClr val="302E45"/>
                </a:solidFill>
                <a:sym typeface="Century Gothic"/>
              </a:rPr>
              <a:t>Amdocs DigitalONE Platform</a:t>
            </a:r>
            <a:endParaRPr lang="en-US" sz="3599" dirty="0">
              <a:solidFill>
                <a:srgbClr val="302E45"/>
              </a:solidFill>
            </a:endParaRP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FF8A9B4F-A785-4E79-8F78-8FBFA5BC6447}"/>
              </a:ext>
            </a:extLst>
          </p:cNvPr>
          <p:cNvSpPr txBox="1">
            <a:spLocks/>
          </p:cNvSpPr>
          <p:nvPr/>
        </p:nvSpPr>
        <p:spPr>
          <a:xfrm>
            <a:off x="547545" y="1014453"/>
            <a:ext cx="11092148" cy="441077"/>
          </a:xfrm>
          <a:prstGeom prst="rect">
            <a:avLst/>
          </a:prstGeom>
        </p:spPr>
        <p:txBody>
          <a:bodyPr/>
          <a:lstStyle>
            <a:lvl1pPr marL="284163" indent="-2841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17525" indent="-2333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363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1730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87438" indent="-1730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999" dirty="0">
                <a:solidFill>
                  <a:srgbClr val="302E45"/>
                </a:solidFill>
                <a:sym typeface="Century Gothic"/>
              </a:rPr>
              <a:t>Enabling the journey to digital service provider</a:t>
            </a:r>
            <a:endParaRPr lang="en-US" sz="1999" dirty="0">
              <a:solidFill>
                <a:srgbClr val="302E45"/>
              </a:solidFill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857F0D9-D429-4F0B-8FAF-D230D97B98D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5191" y="2141953"/>
            <a:ext cx="276366" cy="401309"/>
          </a:xfrm>
          <a:prstGeom prst="rect">
            <a:avLst/>
          </a:prstGeom>
        </p:spPr>
      </p:pic>
      <p:sp>
        <p:nvSpPr>
          <p:cNvPr id="44" name="Rectangle 43"/>
          <p:cNvSpPr/>
          <p:nvPr/>
        </p:nvSpPr>
        <p:spPr>
          <a:xfrm>
            <a:off x="9525610" y="2053870"/>
            <a:ext cx="1554075" cy="785320"/>
          </a:xfrm>
          <a:prstGeom prst="rect">
            <a:avLst/>
          </a:prstGeom>
          <a:noFill/>
          <a:ln w="12700" cap="sq">
            <a:solidFill>
              <a:schemeClr val="accent6">
                <a:lumMod val="9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08" rIns="0" bIns="9141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defRPr/>
            </a:pPr>
            <a:endParaRPr lang="en-US" sz="1200" b="1" dirty="0">
              <a:solidFill>
                <a:srgbClr val="626469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9525610" y="1660529"/>
            <a:ext cx="1554075" cy="41137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sq">
            <a:solidFill>
              <a:schemeClr val="accent4">
                <a:lumMod val="60000"/>
                <a:lumOff val="4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>
              <a:defRPr/>
            </a:pPr>
            <a:r>
              <a:rPr lang="en-US" sz="1200" dirty="0">
                <a:solidFill>
                  <a:srgbClr val="FFFFFF"/>
                </a:solidFill>
              </a:rPr>
              <a:t>ANY APPLIC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4B2EB192-25CD-4114-B169-ABB15008A343}"/>
              </a:ext>
            </a:extLst>
          </p:cNvPr>
          <p:cNvSpPr>
            <a:spLocks/>
          </p:cNvSpPr>
          <p:nvPr/>
        </p:nvSpPr>
        <p:spPr bwMode="auto">
          <a:xfrm>
            <a:off x="1777540" y="2143463"/>
            <a:ext cx="263456" cy="403121"/>
          </a:xfrm>
          <a:custGeom>
            <a:avLst/>
            <a:gdLst>
              <a:gd name="T0" fmla="*/ 82 w 344"/>
              <a:gd name="T1" fmla="*/ 241 h 527"/>
              <a:gd name="T2" fmla="*/ 69 w 344"/>
              <a:gd name="T3" fmla="*/ 247 h 527"/>
              <a:gd name="T4" fmla="*/ 59 w 344"/>
              <a:gd name="T5" fmla="*/ 237 h 527"/>
              <a:gd name="T6" fmla="*/ 52 w 344"/>
              <a:gd name="T7" fmla="*/ 171 h 527"/>
              <a:gd name="T8" fmla="*/ 29 w 344"/>
              <a:gd name="T9" fmla="*/ 142 h 527"/>
              <a:gd name="T10" fmla="*/ 26 w 344"/>
              <a:gd name="T11" fmla="*/ 142 h 527"/>
              <a:gd name="T12" fmla="*/ 0 w 344"/>
              <a:gd name="T13" fmla="*/ 166 h 527"/>
              <a:gd name="T14" fmla="*/ 6 w 344"/>
              <a:gd name="T15" fmla="*/ 364 h 527"/>
              <a:gd name="T16" fmla="*/ 7 w 344"/>
              <a:gd name="T17" fmla="*/ 403 h 527"/>
              <a:gd name="T18" fmla="*/ 46 w 344"/>
              <a:gd name="T19" fmla="*/ 465 h 527"/>
              <a:gd name="T20" fmla="*/ 107 w 344"/>
              <a:gd name="T21" fmla="*/ 495 h 527"/>
              <a:gd name="T22" fmla="*/ 155 w 344"/>
              <a:gd name="T23" fmla="*/ 518 h 527"/>
              <a:gd name="T24" fmla="*/ 232 w 344"/>
              <a:gd name="T25" fmla="*/ 494 h 527"/>
              <a:gd name="T26" fmla="*/ 341 w 344"/>
              <a:gd name="T27" fmla="*/ 288 h 527"/>
              <a:gd name="T28" fmla="*/ 341 w 344"/>
              <a:gd name="T29" fmla="*/ 267 h 527"/>
              <a:gd name="T30" fmla="*/ 332 w 344"/>
              <a:gd name="T31" fmla="*/ 256 h 527"/>
              <a:gd name="T32" fmla="*/ 306 w 344"/>
              <a:gd name="T33" fmla="*/ 260 h 527"/>
              <a:gd name="T34" fmla="*/ 280 w 344"/>
              <a:gd name="T35" fmla="*/ 309 h 527"/>
              <a:gd name="T36" fmla="*/ 264 w 344"/>
              <a:gd name="T37" fmla="*/ 315 h 527"/>
              <a:gd name="T38" fmla="*/ 258 w 344"/>
              <a:gd name="T39" fmla="*/ 299 h 527"/>
              <a:gd name="T40" fmla="*/ 285 w 344"/>
              <a:gd name="T41" fmla="*/ 248 h 527"/>
              <a:gd name="T42" fmla="*/ 285 w 344"/>
              <a:gd name="T43" fmla="*/ 247 h 527"/>
              <a:gd name="T44" fmla="*/ 294 w 344"/>
              <a:gd name="T45" fmla="*/ 226 h 527"/>
              <a:gd name="T46" fmla="*/ 282 w 344"/>
              <a:gd name="T47" fmla="*/ 200 h 527"/>
              <a:gd name="T48" fmla="*/ 256 w 344"/>
              <a:gd name="T49" fmla="*/ 206 h 527"/>
              <a:gd name="T50" fmla="*/ 222 w 344"/>
              <a:gd name="T51" fmla="*/ 272 h 527"/>
              <a:gd name="T52" fmla="*/ 201 w 344"/>
              <a:gd name="T53" fmla="*/ 261 h 527"/>
              <a:gd name="T54" fmla="*/ 237 w 344"/>
              <a:gd name="T55" fmla="*/ 190 h 527"/>
              <a:gd name="T56" fmla="*/ 230 w 344"/>
              <a:gd name="T57" fmla="*/ 154 h 527"/>
              <a:gd name="T58" fmla="*/ 214 w 344"/>
              <a:gd name="T59" fmla="*/ 151 h 527"/>
              <a:gd name="T60" fmla="*/ 198 w 344"/>
              <a:gd name="T61" fmla="*/ 165 h 527"/>
              <a:gd name="T62" fmla="*/ 198 w 344"/>
              <a:gd name="T63" fmla="*/ 166 h 527"/>
              <a:gd name="T64" fmla="*/ 166 w 344"/>
              <a:gd name="T65" fmla="*/ 230 h 527"/>
              <a:gd name="T66" fmla="*/ 144 w 344"/>
              <a:gd name="T67" fmla="*/ 219 h 527"/>
              <a:gd name="T68" fmla="*/ 235 w 344"/>
              <a:gd name="T69" fmla="*/ 35 h 527"/>
              <a:gd name="T70" fmla="*/ 235 w 344"/>
              <a:gd name="T71" fmla="*/ 19 h 527"/>
              <a:gd name="T72" fmla="*/ 221 w 344"/>
              <a:gd name="T73" fmla="*/ 4 h 527"/>
              <a:gd name="T74" fmla="*/ 193 w 344"/>
              <a:gd name="T75" fmla="*/ 18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44" h="527">
                <a:moveTo>
                  <a:pt x="82" y="241"/>
                </a:moveTo>
                <a:cubicBezTo>
                  <a:pt x="80" y="246"/>
                  <a:pt x="75" y="248"/>
                  <a:pt x="69" y="247"/>
                </a:cubicBezTo>
                <a:cubicBezTo>
                  <a:pt x="64" y="246"/>
                  <a:pt x="60" y="242"/>
                  <a:pt x="59" y="237"/>
                </a:cubicBezTo>
                <a:cubicBezTo>
                  <a:pt x="59" y="236"/>
                  <a:pt x="55" y="186"/>
                  <a:pt x="52" y="171"/>
                </a:cubicBezTo>
                <a:cubicBezTo>
                  <a:pt x="49" y="152"/>
                  <a:pt x="41" y="142"/>
                  <a:pt x="29" y="142"/>
                </a:cubicBezTo>
                <a:cubicBezTo>
                  <a:pt x="28" y="142"/>
                  <a:pt x="27" y="142"/>
                  <a:pt x="26" y="142"/>
                </a:cubicBezTo>
                <a:cubicBezTo>
                  <a:pt x="10" y="143"/>
                  <a:pt x="1" y="152"/>
                  <a:pt x="0" y="166"/>
                </a:cubicBezTo>
                <a:cubicBezTo>
                  <a:pt x="0" y="177"/>
                  <a:pt x="4" y="303"/>
                  <a:pt x="6" y="364"/>
                </a:cubicBezTo>
                <a:cubicBezTo>
                  <a:pt x="6" y="385"/>
                  <a:pt x="7" y="400"/>
                  <a:pt x="7" y="403"/>
                </a:cubicBezTo>
                <a:cubicBezTo>
                  <a:pt x="7" y="419"/>
                  <a:pt x="13" y="449"/>
                  <a:pt x="46" y="465"/>
                </a:cubicBezTo>
                <a:cubicBezTo>
                  <a:pt x="67" y="475"/>
                  <a:pt x="88" y="485"/>
                  <a:pt x="107" y="495"/>
                </a:cubicBezTo>
                <a:cubicBezTo>
                  <a:pt x="128" y="505"/>
                  <a:pt x="145" y="513"/>
                  <a:pt x="155" y="518"/>
                </a:cubicBezTo>
                <a:cubicBezTo>
                  <a:pt x="175" y="527"/>
                  <a:pt x="218" y="519"/>
                  <a:pt x="232" y="494"/>
                </a:cubicBezTo>
                <a:cubicBezTo>
                  <a:pt x="257" y="449"/>
                  <a:pt x="333" y="302"/>
                  <a:pt x="341" y="288"/>
                </a:cubicBezTo>
                <a:cubicBezTo>
                  <a:pt x="343" y="284"/>
                  <a:pt x="344" y="275"/>
                  <a:pt x="341" y="267"/>
                </a:cubicBezTo>
                <a:cubicBezTo>
                  <a:pt x="340" y="264"/>
                  <a:pt x="337" y="258"/>
                  <a:pt x="332" y="256"/>
                </a:cubicBezTo>
                <a:cubicBezTo>
                  <a:pt x="319" y="250"/>
                  <a:pt x="309" y="255"/>
                  <a:pt x="306" y="260"/>
                </a:cubicBezTo>
                <a:cubicBezTo>
                  <a:pt x="300" y="270"/>
                  <a:pt x="280" y="309"/>
                  <a:pt x="280" y="309"/>
                </a:cubicBezTo>
                <a:cubicBezTo>
                  <a:pt x="277" y="315"/>
                  <a:pt x="270" y="318"/>
                  <a:pt x="264" y="315"/>
                </a:cubicBezTo>
                <a:cubicBezTo>
                  <a:pt x="258" y="312"/>
                  <a:pt x="255" y="305"/>
                  <a:pt x="258" y="299"/>
                </a:cubicBezTo>
                <a:cubicBezTo>
                  <a:pt x="259" y="297"/>
                  <a:pt x="278" y="259"/>
                  <a:pt x="285" y="248"/>
                </a:cubicBezTo>
                <a:cubicBezTo>
                  <a:pt x="285" y="248"/>
                  <a:pt x="285" y="248"/>
                  <a:pt x="285" y="247"/>
                </a:cubicBezTo>
                <a:cubicBezTo>
                  <a:pt x="286" y="245"/>
                  <a:pt x="292" y="232"/>
                  <a:pt x="294" y="226"/>
                </a:cubicBezTo>
                <a:cubicBezTo>
                  <a:pt x="294" y="224"/>
                  <a:pt x="299" y="209"/>
                  <a:pt x="282" y="200"/>
                </a:cubicBezTo>
                <a:cubicBezTo>
                  <a:pt x="270" y="193"/>
                  <a:pt x="258" y="204"/>
                  <a:pt x="256" y="206"/>
                </a:cubicBezTo>
                <a:cubicBezTo>
                  <a:pt x="247" y="223"/>
                  <a:pt x="222" y="272"/>
                  <a:pt x="222" y="272"/>
                </a:cubicBezTo>
                <a:cubicBezTo>
                  <a:pt x="201" y="261"/>
                  <a:pt x="201" y="261"/>
                  <a:pt x="201" y="261"/>
                </a:cubicBezTo>
                <a:cubicBezTo>
                  <a:pt x="201" y="261"/>
                  <a:pt x="232" y="198"/>
                  <a:pt x="237" y="190"/>
                </a:cubicBezTo>
                <a:cubicBezTo>
                  <a:pt x="237" y="190"/>
                  <a:pt x="248" y="166"/>
                  <a:pt x="230" y="154"/>
                </a:cubicBezTo>
                <a:cubicBezTo>
                  <a:pt x="224" y="151"/>
                  <a:pt x="219" y="150"/>
                  <a:pt x="214" y="151"/>
                </a:cubicBezTo>
                <a:cubicBezTo>
                  <a:pt x="207" y="153"/>
                  <a:pt x="201" y="159"/>
                  <a:pt x="198" y="165"/>
                </a:cubicBezTo>
                <a:cubicBezTo>
                  <a:pt x="198" y="165"/>
                  <a:pt x="198" y="166"/>
                  <a:pt x="198" y="166"/>
                </a:cubicBezTo>
                <a:cubicBezTo>
                  <a:pt x="181" y="201"/>
                  <a:pt x="166" y="230"/>
                  <a:pt x="166" y="230"/>
                </a:cubicBezTo>
                <a:cubicBezTo>
                  <a:pt x="144" y="219"/>
                  <a:pt x="144" y="219"/>
                  <a:pt x="144" y="219"/>
                </a:cubicBezTo>
                <a:cubicBezTo>
                  <a:pt x="144" y="219"/>
                  <a:pt x="226" y="53"/>
                  <a:pt x="235" y="35"/>
                </a:cubicBezTo>
                <a:cubicBezTo>
                  <a:pt x="238" y="29"/>
                  <a:pt x="237" y="23"/>
                  <a:pt x="235" y="19"/>
                </a:cubicBezTo>
                <a:cubicBezTo>
                  <a:pt x="233" y="13"/>
                  <a:pt x="227" y="7"/>
                  <a:pt x="221" y="4"/>
                </a:cubicBezTo>
                <a:cubicBezTo>
                  <a:pt x="210" y="0"/>
                  <a:pt x="198" y="8"/>
                  <a:pt x="193" y="18"/>
                </a:cubicBezTo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9525">
            <a:solidFill>
              <a:srgbClr val="F2F2F2"/>
            </a:solidFill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/>
            <a:endParaRPr lang="en-US" sz="1799">
              <a:solidFill>
                <a:srgbClr val="000000"/>
              </a:solidFill>
            </a:endParaRPr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C96396BB-C593-42AC-8DFA-3546319935A2}"/>
              </a:ext>
            </a:extLst>
          </p:cNvPr>
          <p:cNvSpPr>
            <a:spLocks noEditPoints="1"/>
          </p:cNvSpPr>
          <p:nvPr/>
        </p:nvSpPr>
        <p:spPr bwMode="auto">
          <a:xfrm>
            <a:off x="1758494" y="2122831"/>
            <a:ext cx="299960" cy="438037"/>
          </a:xfrm>
          <a:custGeom>
            <a:avLst/>
            <a:gdLst>
              <a:gd name="T0" fmla="*/ 366 w 392"/>
              <a:gd name="T1" fmla="*/ 262 h 574"/>
              <a:gd name="T2" fmla="*/ 342 w 392"/>
              <a:gd name="T3" fmla="*/ 257 h 574"/>
              <a:gd name="T4" fmla="*/ 318 w 392"/>
              <a:gd name="T5" fmla="*/ 206 h 574"/>
              <a:gd name="T6" fmla="*/ 288 w 392"/>
              <a:gd name="T7" fmla="*/ 202 h 574"/>
              <a:gd name="T8" fmla="*/ 267 w 392"/>
              <a:gd name="T9" fmla="*/ 162 h 574"/>
              <a:gd name="T10" fmla="*/ 241 w 392"/>
              <a:gd name="T11" fmla="*/ 154 h 574"/>
              <a:gd name="T12" fmla="*/ 281 w 392"/>
              <a:gd name="T13" fmla="*/ 73 h 574"/>
              <a:gd name="T14" fmla="*/ 282 w 392"/>
              <a:gd name="T15" fmla="*/ 38 h 574"/>
              <a:gd name="T16" fmla="*/ 255 w 392"/>
              <a:gd name="T17" fmla="*/ 10 h 574"/>
              <a:gd name="T18" fmla="*/ 196 w 392"/>
              <a:gd name="T19" fmla="*/ 34 h 574"/>
              <a:gd name="T20" fmla="*/ 103 w 392"/>
              <a:gd name="T21" fmla="*/ 220 h 574"/>
              <a:gd name="T22" fmla="*/ 100 w 392"/>
              <a:gd name="T23" fmla="*/ 196 h 574"/>
              <a:gd name="T24" fmla="*/ 48 w 392"/>
              <a:gd name="T25" fmla="*/ 145 h 574"/>
              <a:gd name="T26" fmla="*/ 0 w 392"/>
              <a:gd name="T27" fmla="*/ 193 h 574"/>
              <a:gd name="T28" fmla="*/ 5 w 392"/>
              <a:gd name="T29" fmla="*/ 393 h 574"/>
              <a:gd name="T30" fmla="*/ 6 w 392"/>
              <a:gd name="T31" fmla="*/ 432 h 574"/>
              <a:gd name="T32" fmla="*/ 60 w 392"/>
              <a:gd name="T33" fmla="*/ 515 h 574"/>
              <a:gd name="T34" fmla="*/ 120 w 392"/>
              <a:gd name="T35" fmla="*/ 544 h 574"/>
              <a:gd name="T36" fmla="*/ 170 w 392"/>
              <a:gd name="T37" fmla="*/ 568 h 574"/>
              <a:gd name="T38" fmla="*/ 199 w 392"/>
              <a:gd name="T39" fmla="*/ 574 h 574"/>
              <a:gd name="T40" fmla="*/ 278 w 392"/>
              <a:gd name="T41" fmla="*/ 533 h 574"/>
              <a:gd name="T42" fmla="*/ 386 w 392"/>
              <a:gd name="T43" fmla="*/ 327 h 574"/>
              <a:gd name="T44" fmla="*/ 388 w 392"/>
              <a:gd name="T45" fmla="*/ 288 h 574"/>
              <a:gd name="T46" fmla="*/ 366 w 392"/>
              <a:gd name="T47" fmla="*/ 262 h 574"/>
              <a:gd name="T48" fmla="*/ 365 w 392"/>
              <a:gd name="T49" fmla="*/ 316 h 574"/>
              <a:gd name="T50" fmla="*/ 256 w 392"/>
              <a:gd name="T51" fmla="*/ 522 h 574"/>
              <a:gd name="T52" fmla="*/ 179 w 392"/>
              <a:gd name="T53" fmla="*/ 546 h 574"/>
              <a:gd name="T54" fmla="*/ 131 w 392"/>
              <a:gd name="T55" fmla="*/ 523 h 574"/>
              <a:gd name="T56" fmla="*/ 70 w 392"/>
              <a:gd name="T57" fmla="*/ 493 h 574"/>
              <a:gd name="T58" fmla="*/ 31 w 392"/>
              <a:gd name="T59" fmla="*/ 431 h 574"/>
              <a:gd name="T60" fmla="*/ 30 w 392"/>
              <a:gd name="T61" fmla="*/ 392 h 574"/>
              <a:gd name="T62" fmla="*/ 24 w 392"/>
              <a:gd name="T63" fmla="*/ 194 h 574"/>
              <a:gd name="T64" fmla="*/ 50 w 392"/>
              <a:gd name="T65" fmla="*/ 170 h 574"/>
              <a:gd name="T66" fmla="*/ 53 w 392"/>
              <a:gd name="T67" fmla="*/ 170 h 574"/>
              <a:gd name="T68" fmla="*/ 76 w 392"/>
              <a:gd name="T69" fmla="*/ 199 h 574"/>
              <a:gd name="T70" fmla="*/ 83 w 392"/>
              <a:gd name="T71" fmla="*/ 265 h 574"/>
              <a:gd name="T72" fmla="*/ 93 w 392"/>
              <a:gd name="T73" fmla="*/ 275 h 574"/>
              <a:gd name="T74" fmla="*/ 106 w 392"/>
              <a:gd name="T75" fmla="*/ 269 h 574"/>
              <a:gd name="T76" fmla="*/ 217 w 392"/>
              <a:gd name="T77" fmla="*/ 46 h 574"/>
              <a:gd name="T78" fmla="*/ 245 w 392"/>
              <a:gd name="T79" fmla="*/ 32 h 574"/>
              <a:gd name="T80" fmla="*/ 259 w 392"/>
              <a:gd name="T81" fmla="*/ 47 h 574"/>
              <a:gd name="T82" fmla="*/ 259 w 392"/>
              <a:gd name="T83" fmla="*/ 63 h 574"/>
              <a:gd name="T84" fmla="*/ 168 w 392"/>
              <a:gd name="T85" fmla="*/ 247 h 574"/>
              <a:gd name="T86" fmla="*/ 190 w 392"/>
              <a:gd name="T87" fmla="*/ 258 h 574"/>
              <a:gd name="T88" fmla="*/ 222 w 392"/>
              <a:gd name="T89" fmla="*/ 194 h 574"/>
              <a:gd name="T90" fmla="*/ 222 w 392"/>
              <a:gd name="T91" fmla="*/ 193 h 574"/>
              <a:gd name="T92" fmla="*/ 238 w 392"/>
              <a:gd name="T93" fmla="*/ 179 h 574"/>
              <a:gd name="T94" fmla="*/ 254 w 392"/>
              <a:gd name="T95" fmla="*/ 182 h 574"/>
              <a:gd name="T96" fmla="*/ 261 w 392"/>
              <a:gd name="T97" fmla="*/ 218 h 574"/>
              <a:gd name="T98" fmla="*/ 225 w 392"/>
              <a:gd name="T99" fmla="*/ 289 h 574"/>
              <a:gd name="T100" fmla="*/ 246 w 392"/>
              <a:gd name="T101" fmla="*/ 300 h 574"/>
              <a:gd name="T102" fmla="*/ 280 w 392"/>
              <a:gd name="T103" fmla="*/ 234 h 574"/>
              <a:gd name="T104" fmla="*/ 306 w 392"/>
              <a:gd name="T105" fmla="*/ 228 h 574"/>
              <a:gd name="T106" fmla="*/ 318 w 392"/>
              <a:gd name="T107" fmla="*/ 254 h 574"/>
              <a:gd name="T108" fmla="*/ 309 w 392"/>
              <a:gd name="T109" fmla="*/ 275 h 574"/>
              <a:gd name="T110" fmla="*/ 309 w 392"/>
              <a:gd name="T111" fmla="*/ 276 h 574"/>
              <a:gd name="T112" fmla="*/ 282 w 392"/>
              <a:gd name="T113" fmla="*/ 327 h 574"/>
              <a:gd name="T114" fmla="*/ 288 w 392"/>
              <a:gd name="T115" fmla="*/ 343 h 574"/>
              <a:gd name="T116" fmla="*/ 304 w 392"/>
              <a:gd name="T117" fmla="*/ 337 h 574"/>
              <a:gd name="T118" fmla="*/ 330 w 392"/>
              <a:gd name="T119" fmla="*/ 288 h 574"/>
              <a:gd name="T120" fmla="*/ 356 w 392"/>
              <a:gd name="T121" fmla="*/ 284 h 574"/>
              <a:gd name="T122" fmla="*/ 365 w 392"/>
              <a:gd name="T123" fmla="*/ 295 h 574"/>
              <a:gd name="T124" fmla="*/ 365 w 392"/>
              <a:gd name="T125" fmla="*/ 316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92" h="574">
                <a:moveTo>
                  <a:pt x="366" y="262"/>
                </a:moveTo>
                <a:cubicBezTo>
                  <a:pt x="358" y="258"/>
                  <a:pt x="350" y="256"/>
                  <a:pt x="342" y="257"/>
                </a:cubicBezTo>
                <a:cubicBezTo>
                  <a:pt x="345" y="243"/>
                  <a:pt x="342" y="220"/>
                  <a:pt x="318" y="206"/>
                </a:cubicBezTo>
                <a:cubicBezTo>
                  <a:pt x="307" y="201"/>
                  <a:pt x="297" y="200"/>
                  <a:pt x="288" y="202"/>
                </a:cubicBezTo>
                <a:cubicBezTo>
                  <a:pt x="288" y="188"/>
                  <a:pt x="283" y="172"/>
                  <a:pt x="267" y="162"/>
                </a:cubicBezTo>
                <a:cubicBezTo>
                  <a:pt x="257" y="156"/>
                  <a:pt x="248" y="154"/>
                  <a:pt x="241" y="154"/>
                </a:cubicBezTo>
                <a:cubicBezTo>
                  <a:pt x="260" y="116"/>
                  <a:pt x="277" y="81"/>
                  <a:pt x="281" y="73"/>
                </a:cubicBezTo>
                <a:cubicBezTo>
                  <a:pt x="286" y="62"/>
                  <a:pt x="287" y="50"/>
                  <a:pt x="282" y="38"/>
                </a:cubicBezTo>
                <a:cubicBezTo>
                  <a:pt x="277" y="26"/>
                  <a:pt x="267" y="15"/>
                  <a:pt x="255" y="10"/>
                </a:cubicBezTo>
                <a:cubicBezTo>
                  <a:pt x="230" y="0"/>
                  <a:pt x="206" y="14"/>
                  <a:pt x="196" y="34"/>
                </a:cubicBezTo>
                <a:cubicBezTo>
                  <a:pt x="189" y="45"/>
                  <a:pt x="133" y="159"/>
                  <a:pt x="103" y="220"/>
                </a:cubicBezTo>
                <a:cubicBezTo>
                  <a:pt x="102" y="210"/>
                  <a:pt x="101" y="201"/>
                  <a:pt x="100" y="196"/>
                </a:cubicBezTo>
                <a:cubicBezTo>
                  <a:pt x="95" y="161"/>
                  <a:pt x="75" y="143"/>
                  <a:pt x="48" y="145"/>
                </a:cubicBezTo>
                <a:cubicBezTo>
                  <a:pt x="19" y="149"/>
                  <a:pt x="1" y="166"/>
                  <a:pt x="0" y="193"/>
                </a:cubicBezTo>
                <a:cubicBezTo>
                  <a:pt x="0" y="204"/>
                  <a:pt x="2" y="302"/>
                  <a:pt x="5" y="393"/>
                </a:cubicBezTo>
                <a:cubicBezTo>
                  <a:pt x="6" y="413"/>
                  <a:pt x="6" y="428"/>
                  <a:pt x="6" y="432"/>
                </a:cubicBezTo>
                <a:cubicBezTo>
                  <a:pt x="7" y="449"/>
                  <a:pt x="13" y="493"/>
                  <a:pt x="60" y="515"/>
                </a:cubicBezTo>
                <a:cubicBezTo>
                  <a:pt x="80" y="525"/>
                  <a:pt x="101" y="535"/>
                  <a:pt x="120" y="544"/>
                </a:cubicBezTo>
                <a:cubicBezTo>
                  <a:pt x="141" y="555"/>
                  <a:pt x="159" y="564"/>
                  <a:pt x="170" y="568"/>
                </a:cubicBezTo>
                <a:cubicBezTo>
                  <a:pt x="178" y="572"/>
                  <a:pt x="188" y="574"/>
                  <a:pt x="199" y="574"/>
                </a:cubicBezTo>
                <a:cubicBezTo>
                  <a:pt x="228" y="574"/>
                  <a:pt x="263" y="561"/>
                  <a:pt x="278" y="533"/>
                </a:cubicBezTo>
                <a:cubicBezTo>
                  <a:pt x="302" y="488"/>
                  <a:pt x="379" y="342"/>
                  <a:pt x="386" y="327"/>
                </a:cubicBezTo>
                <a:cubicBezTo>
                  <a:pt x="392" y="316"/>
                  <a:pt x="392" y="301"/>
                  <a:pt x="388" y="288"/>
                </a:cubicBezTo>
                <a:cubicBezTo>
                  <a:pt x="384" y="276"/>
                  <a:pt x="376" y="267"/>
                  <a:pt x="366" y="262"/>
                </a:cubicBezTo>
                <a:close/>
                <a:moveTo>
                  <a:pt x="365" y="316"/>
                </a:moveTo>
                <a:cubicBezTo>
                  <a:pt x="357" y="330"/>
                  <a:pt x="281" y="477"/>
                  <a:pt x="256" y="522"/>
                </a:cubicBezTo>
                <a:cubicBezTo>
                  <a:pt x="242" y="547"/>
                  <a:pt x="199" y="555"/>
                  <a:pt x="179" y="546"/>
                </a:cubicBezTo>
                <a:cubicBezTo>
                  <a:pt x="169" y="541"/>
                  <a:pt x="152" y="533"/>
                  <a:pt x="131" y="523"/>
                </a:cubicBezTo>
                <a:cubicBezTo>
                  <a:pt x="112" y="513"/>
                  <a:pt x="91" y="503"/>
                  <a:pt x="70" y="493"/>
                </a:cubicBezTo>
                <a:cubicBezTo>
                  <a:pt x="37" y="477"/>
                  <a:pt x="31" y="447"/>
                  <a:pt x="31" y="431"/>
                </a:cubicBezTo>
                <a:cubicBezTo>
                  <a:pt x="31" y="428"/>
                  <a:pt x="30" y="413"/>
                  <a:pt x="30" y="392"/>
                </a:cubicBezTo>
                <a:cubicBezTo>
                  <a:pt x="28" y="331"/>
                  <a:pt x="24" y="205"/>
                  <a:pt x="24" y="194"/>
                </a:cubicBezTo>
                <a:cubicBezTo>
                  <a:pt x="25" y="180"/>
                  <a:pt x="34" y="171"/>
                  <a:pt x="50" y="170"/>
                </a:cubicBezTo>
                <a:cubicBezTo>
                  <a:pt x="51" y="170"/>
                  <a:pt x="52" y="170"/>
                  <a:pt x="53" y="170"/>
                </a:cubicBezTo>
                <a:cubicBezTo>
                  <a:pt x="65" y="170"/>
                  <a:pt x="73" y="180"/>
                  <a:pt x="76" y="199"/>
                </a:cubicBezTo>
                <a:cubicBezTo>
                  <a:pt x="79" y="214"/>
                  <a:pt x="83" y="264"/>
                  <a:pt x="83" y="265"/>
                </a:cubicBezTo>
                <a:cubicBezTo>
                  <a:pt x="84" y="270"/>
                  <a:pt x="88" y="274"/>
                  <a:pt x="93" y="275"/>
                </a:cubicBezTo>
                <a:cubicBezTo>
                  <a:pt x="99" y="276"/>
                  <a:pt x="104" y="274"/>
                  <a:pt x="106" y="269"/>
                </a:cubicBezTo>
                <a:cubicBezTo>
                  <a:pt x="142" y="197"/>
                  <a:pt x="210" y="58"/>
                  <a:pt x="217" y="46"/>
                </a:cubicBezTo>
                <a:cubicBezTo>
                  <a:pt x="222" y="36"/>
                  <a:pt x="234" y="28"/>
                  <a:pt x="245" y="32"/>
                </a:cubicBezTo>
                <a:cubicBezTo>
                  <a:pt x="251" y="35"/>
                  <a:pt x="257" y="41"/>
                  <a:pt x="259" y="47"/>
                </a:cubicBezTo>
                <a:cubicBezTo>
                  <a:pt x="261" y="51"/>
                  <a:pt x="262" y="57"/>
                  <a:pt x="259" y="63"/>
                </a:cubicBezTo>
                <a:cubicBezTo>
                  <a:pt x="250" y="81"/>
                  <a:pt x="168" y="247"/>
                  <a:pt x="168" y="247"/>
                </a:cubicBezTo>
                <a:cubicBezTo>
                  <a:pt x="190" y="258"/>
                  <a:pt x="190" y="258"/>
                  <a:pt x="190" y="258"/>
                </a:cubicBezTo>
                <a:cubicBezTo>
                  <a:pt x="190" y="258"/>
                  <a:pt x="205" y="229"/>
                  <a:pt x="222" y="194"/>
                </a:cubicBezTo>
                <a:cubicBezTo>
                  <a:pt x="222" y="194"/>
                  <a:pt x="222" y="193"/>
                  <a:pt x="222" y="193"/>
                </a:cubicBezTo>
                <a:cubicBezTo>
                  <a:pt x="225" y="187"/>
                  <a:pt x="231" y="181"/>
                  <a:pt x="238" y="179"/>
                </a:cubicBezTo>
                <a:cubicBezTo>
                  <a:pt x="243" y="178"/>
                  <a:pt x="248" y="179"/>
                  <a:pt x="254" y="182"/>
                </a:cubicBezTo>
                <a:cubicBezTo>
                  <a:pt x="272" y="194"/>
                  <a:pt x="261" y="218"/>
                  <a:pt x="261" y="218"/>
                </a:cubicBezTo>
                <a:cubicBezTo>
                  <a:pt x="256" y="226"/>
                  <a:pt x="225" y="289"/>
                  <a:pt x="225" y="289"/>
                </a:cubicBezTo>
                <a:cubicBezTo>
                  <a:pt x="246" y="300"/>
                  <a:pt x="246" y="300"/>
                  <a:pt x="246" y="300"/>
                </a:cubicBezTo>
                <a:cubicBezTo>
                  <a:pt x="246" y="300"/>
                  <a:pt x="271" y="251"/>
                  <a:pt x="280" y="234"/>
                </a:cubicBezTo>
                <a:cubicBezTo>
                  <a:pt x="282" y="232"/>
                  <a:pt x="294" y="221"/>
                  <a:pt x="306" y="228"/>
                </a:cubicBezTo>
                <a:cubicBezTo>
                  <a:pt x="323" y="237"/>
                  <a:pt x="318" y="252"/>
                  <a:pt x="318" y="254"/>
                </a:cubicBezTo>
                <a:cubicBezTo>
                  <a:pt x="316" y="260"/>
                  <a:pt x="310" y="273"/>
                  <a:pt x="309" y="275"/>
                </a:cubicBezTo>
                <a:cubicBezTo>
                  <a:pt x="309" y="276"/>
                  <a:pt x="309" y="276"/>
                  <a:pt x="309" y="276"/>
                </a:cubicBezTo>
                <a:cubicBezTo>
                  <a:pt x="302" y="287"/>
                  <a:pt x="283" y="325"/>
                  <a:pt x="282" y="327"/>
                </a:cubicBezTo>
                <a:cubicBezTo>
                  <a:pt x="279" y="333"/>
                  <a:pt x="282" y="340"/>
                  <a:pt x="288" y="343"/>
                </a:cubicBezTo>
                <a:cubicBezTo>
                  <a:pt x="294" y="346"/>
                  <a:pt x="301" y="343"/>
                  <a:pt x="304" y="337"/>
                </a:cubicBezTo>
                <a:cubicBezTo>
                  <a:pt x="304" y="337"/>
                  <a:pt x="324" y="298"/>
                  <a:pt x="330" y="288"/>
                </a:cubicBezTo>
                <a:cubicBezTo>
                  <a:pt x="333" y="283"/>
                  <a:pt x="343" y="278"/>
                  <a:pt x="356" y="284"/>
                </a:cubicBezTo>
                <a:cubicBezTo>
                  <a:pt x="361" y="286"/>
                  <a:pt x="364" y="292"/>
                  <a:pt x="365" y="295"/>
                </a:cubicBezTo>
                <a:cubicBezTo>
                  <a:pt x="368" y="303"/>
                  <a:pt x="367" y="312"/>
                  <a:pt x="365" y="316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/>
            <a:endParaRPr lang="en-US" sz="1799">
              <a:solidFill>
                <a:srgbClr val="000000"/>
              </a:solidFill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69F941A-B500-4D79-8E88-22F95B2CEA89}"/>
              </a:ext>
            </a:extLst>
          </p:cNvPr>
          <p:cNvGrpSpPr/>
          <p:nvPr/>
        </p:nvGrpSpPr>
        <p:grpSpPr>
          <a:xfrm>
            <a:off x="6773272" y="2162914"/>
            <a:ext cx="404639" cy="344782"/>
            <a:chOff x="7273142" y="1875941"/>
            <a:chExt cx="1225952" cy="1044602"/>
          </a:xfrm>
        </p:grpSpPr>
        <p:sp>
          <p:nvSpPr>
            <p:cNvPr id="57" name="Rectangle 10">
              <a:extLst>
                <a:ext uri="{FF2B5EF4-FFF2-40B4-BE49-F238E27FC236}">
                  <a16:creationId xmlns:a16="http://schemas.microsoft.com/office/drawing/2014/main" id="{ED50C85A-287B-426B-B496-970B1E4628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32733" y="2036569"/>
              <a:ext cx="906769" cy="480849"/>
            </a:xfrm>
            <a:prstGeom prst="rect">
              <a:avLst/>
            </a:prstGeom>
            <a:solidFill>
              <a:srgbClr val="F9AFA1"/>
            </a:solidFill>
            <a:ln w="9525">
              <a:solidFill>
                <a:srgbClr val="F9AFA1"/>
              </a:solidFill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8" name="Rectangle 11">
              <a:extLst>
                <a:ext uri="{FF2B5EF4-FFF2-40B4-BE49-F238E27FC236}">
                  <a16:creationId xmlns:a16="http://schemas.microsoft.com/office/drawing/2014/main" id="{B0213B4B-F917-4324-94DA-1ADE9B8359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860" y="2678046"/>
              <a:ext cx="216588" cy="190681"/>
            </a:xfrm>
            <a:prstGeom prst="rect">
              <a:avLst/>
            </a:prstGeom>
            <a:solidFill>
              <a:srgbClr val="F9AFA1"/>
            </a:solidFill>
            <a:ln w="9525">
              <a:solidFill>
                <a:srgbClr val="F9AFA1"/>
              </a:solidFill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2C965A91-D8CE-4256-996D-C4A0647545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27030" y="1929829"/>
              <a:ext cx="1120249" cy="696401"/>
            </a:xfrm>
            <a:custGeom>
              <a:avLst/>
              <a:gdLst>
                <a:gd name="T0" fmla="*/ 0 w 518"/>
                <a:gd name="T1" fmla="*/ 321 h 321"/>
                <a:gd name="T2" fmla="*/ 518 w 518"/>
                <a:gd name="T3" fmla="*/ 321 h 321"/>
                <a:gd name="T4" fmla="*/ 518 w 518"/>
                <a:gd name="T5" fmla="*/ 0 h 321"/>
                <a:gd name="T6" fmla="*/ 0 w 518"/>
                <a:gd name="T7" fmla="*/ 0 h 321"/>
                <a:gd name="T8" fmla="*/ 0 w 518"/>
                <a:gd name="T9" fmla="*/ 321 h 321"/>
                <a:gd name="T10" fmla="*/ 25 w 518"/>
                <a:gd name="T11" fmla="*/ 37 h 321"/>
                <a:gd name="T12" fmla="*/ 37 w 518"/>
                <a:gd name="T13" fmla="*/ 25 h 321"/>
                <a:gd name="T14" fmla="*/ 481 w 518"/>
                <a:gd name="T15" fmla="*/ 25 h 321"/>
                <a:gd name="T16" fmla="*/ 493 w 518"/>
                <a:gd name="T17" fmla="*/ 37 h 321"/>
                <a:gd name="T18" fmla="*/ 493 w 518"/>
                <a:gd name="T19" fmla="*/ 284 h 321"/>
                <a:gd name="T20" fmla="*/ 481 w 518"/>
                <a:gd name="T21" fmla="*/ 296 h 321"/>
                <a:gd name="T22" fmla="*/ 37 w 518"/>
                <a:gd name="T23" fmla="*/ 296 h 321"/>
                <a:gd name="T24" fmla="*/ 25 w 518"/>
                <a:gd name="T25" fmla="*/ 284 h 321"/>
                <a:gd name="T26" fmla="*/ 25 w 518"/>
                <a:gd name="T27" fmla="*/ 37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8" h="321">
                  <a:moveTo>
                    <a:pt x="0" y="321"/>
                  </a:moveTo>
                  <a:cubicBezTo>
                    <a:pt x="518" y="321"/>
                    <a:pt x="518" y="321"/>
                    <a:pt x="518" y="321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21"/>
                  </a:lnTo>
                  <a:close/>
                  <a:moveTo>
                    <a:pt x="25" y="37"/>
                  </a:moveTo>
                  <a:cubicBezTo>
                    <a:pt x="25" y="30"/>
                    <a:pt x="30" y="25"/>
                    <a:pt x="37" y="25"/>
                  </a:cubicBezTo>
                  <a:cubicBezTo>
                    <a:pt x="481" y="25"/>
                    <a:pt x="481" y="25"/>
                    <a:pt x="481" y="25"/>
                  </a:cubicBezTo>
                  <a:cubicBezTo>
                    <a:pt x="488" y="25"/>
                    <a:pt x="493" y="30"/>
                    <a:pt x="493" y="37"/>
                  </a:cubicBezTo>
                  <a:cubicBezTo>
                    <a:pt x="493" y="284"/>
                    <a:pt x="493" y="284"/>
                    <a:pt x="493" y="284"/>
                  </a:cubicBezTo>
                  <a:cubicBezTo>
                    <a:pt x="493" y="290"/>
                    <a:pt x="488" y="296"/>
                    <a:pt x="481" y="296"/>
                  </a:cubicBezTo>
                  <a:cubicBezTo>
                    <a:pt x="37" y="296"/>
                    <a:pt x="37" y="296"/>
                    <a:pt x="37" y="296"/>
                  </a:cubicBezTo>
                  <a:cubicBezTo>
                    <a:pt x="30" y="296"/>
                    <a:pt x="25" y="290"/>
                    <a:pt x="25" y="284"/>
                  </a:cubicBezTo>
                  <a:lnTo>
                    <a:pt x="25" y="37"/>
                  </a:lnTo>
                  <a:close/>
                </a:path>
              </a:pathLst>
            </a:custGeom>
            <a:solidFill>
              <a:srgbClr val="F9AFA1"/>
            </a:solidFill>
            <a:ln w="9525">
              <a:solidFill>
                <a:srgbClr val="F9AFA1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0234D513-303C-423B-B561-9A59768779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3142" y="1875941"/>
              <a:ext cx="1225952" cy="1044602"/>
            </a:xfrm>
            <a:custGeom>
              <a:avLst/>
              <a:gdLst>
                <a:gd name="T0" fmla="*/ 555 w 567"/>
                <a:gd name="T1" fmla="*/ 0 h 482"/>
                <a:gd name="T2" fmla="*/ 13 w 567"/>
                <a:gd name="T3" fmla="*/ 0 h 482"/>
                <a:gd name="T4" fmla="*/ 0 w 567"/>
                <a:gd name="T5" fmla="*/ 13 h 482"/>
                <a:gd name="T6" fmla="*/ 0 w 567"/>
                <a:gd name="T7" fmla="*/ 358 h 482"/>
                <a:gd name="T8" fmla="*/ 13 w 567"/>
                <a:gd name="T9" fmla="*/ 370 h 482"/>
                <a:gd name="T10" fmla="*/ 209 w 567"/>
                <a:gd name="T11" fmla="*/ 370 h 482"/>
                <a:gd name="T12" fmla="*/ 209 w 567"/>
                <a:gd name="T13" fmla="*/ 458 h 482"/>
                <a:gd name="T14" fmla="*/ 193 w 567"/>
                <a:gd name="T15" fmla="*/ 458 h 482"/>
                <a:gd name="T16" fmla="*/ 181 w 567"/>
                <a:gd name="T17" fmla="*/ 470 h 482"/>
                <a:gd name="T18" fmla="*/ 193 w 567"/>
                <a:gd name="T19" fmla="*/ 482 h 482"/>
                <a:gd name="T20" fmla="*/ 375 w 567"/>
                <a:gd name="T21" fmla="*/ 482 h 482"/>
                <a:gd name="T22" fmla="*/ 387 w 567"/>
                <a:gd name="T23" fmla="*/ 470 h 482"/>
                <a:gd name="T24" fmla="*/ 375 w 567"/>
                <a:gd name="T25" fmla="*/ 458 h 482"/>
                <a:gd name="T26" fmla="*/ 359 w 567"/>
                <a:gd name="T27" fmla="*/ 458 h 482"/>
                <a:gd name="T28" fmla="*/ 359 w 567"/>
                <a:gd name="T29" fmla="*/ 370 h 482"/>
                <a:gd name="T30" fmla="*/ 555 w 567"/>
                <a:gd name="T31" fmla="*/ 370 h 482"/>
                <a:gd name="T32" fmla="*/ 567 w 567"/>
                <a:gd name="T33" fmla="*/ 358 h 482"/>
                <a:gd name="T34" fmla="*/ 567 w 567"/>
                <a:gd name="T35" fmla="*/ 13 h 482"/>
                <a:gd name="T36" fmla="*/ 555 w 567"/>
                <a:gd name="T37" fmla="*/ 0 h 482"/>
                <a:gd name="T38" fmla="*/ 334 w 567"/>
                <a:gd name="T39" fmla="*/ 458 h 482"/>
                <a:gd name="T40" fmla="*/ 234 w 567"/>
                <a:gd name="T41" fmla="*/ 458 h 482"/>
                <a:gd name="T42" fmla="*/ 234 w 567"/>
                <a:gd name="T43" fmla="*/ 370 h 482"/>
                <a:gd name="T44" fmla="*/ 334 w 567"/>
                <a:gd name="T45" fmla="*/ 370 h 482"/>
                <a:gd name="T46" fmla="*/ 334 w 567"/>
                <a:gd name="T47" fmla="*/ 458 h 482"/>
                <a:gd name="T48" fmla="*/ 543 w 567"/>
                <a:gd name="T49" fmla="*/ 346 h 482"/>
                <a:gd name="T50" fmla="*/ 25 w 567"/>
                <a:gd name="T51" fmla="*/ 346 h 482"/>
                <a:gd name="T52" fmla="*/ 25 w 567"/>
                <a:gd name="T53" fmla="*/ 25 h 482"/>
                <a:gd name="T54" fmla="*/ 543 w 567"/>
                <a:gd name="T55" fmla="*/ 25 h 482"/>
                <a:gd name="T56" fmla="*/ 543 w 567"/>
                <a:gd name="T57" fmla="*/ 346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67" h="482">
                  <a:moveTo>
                    <a:pt x="555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65"/>
                    <a:pt x="6" y="370"/>
                    <a:pt x="13" y="370"/>
                  </a:cubicBezTo>
                  <a:cubicBezTo>
                    <a:pt x="209" y="370"/>
                    <a:pt x="209" y="370"/>
                    <a:pt x="209" y="370"/>
                  </a:cubicBezTo>
                  <a:cubicBezTo>
                    <a:pt x="209" y="458"/>
                    <a:pt x="209" y="458"/>
                    <a:pt x="209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86" y="458"/>
                    <a:pt x="181" y="463"/>
                    <a:pt x="181" y="470"/>
                  </a:cubicBezTo>
                  <a:cubicBezTo>
                    <a:pt x="181" y="477"/>
                    <a:pt x="186" y="482"/>
                    <a:pt x="193" y="482"/>
                  </a:cubicBezTo>
                  <a:cubicBezTo>
                    <a:pt x="375" y="482"/>
                    <a:pt x="375" y="482"/>
                    <a:pt x="375" y="482"/>
                  </a:cubicBezTo>
                  <a:cubicBezTo>
                    <a:pt x="382" y="482"/>
                    <a:pt x="387" y="477"/>
                    <a:pt x="387" y="470"/>
                  </a:cubicBezTo>
                  <a:cubicBezTo>
                    <a:pt x="387" y="463"/>
                    <a:pt x="382" y="458"/>
                    <a:pt x="375" y="458"/>
                  </a:cubicBezTo>
                  <a:cubicBezTo>
                    <a:pt x="359" y="458"/>
                    <a:pt x="359" y="458"/>
                    <a:pt x="359" y="458"/>
                  </a:cubicBezTo>
                  <a:cubicBezTo>
                    <a:pt x="359" y="370"/>
                    <a:pt x="359" y="370"/>
                    <a:pt x="359" y="370"/>
                  </a:cubicBezTo>
                  <a:cubicBezTo>
                    <a:pt x="555" y="370"/>
                    <a:pt x="555" y="370"/>
                    <a:pt x="555" y="370"/>
                  </a:cubicBezTo>
                  <a:cubicBezTo>
                    <a:pt x="562" y="370"/>
                    <a:pt x="567" y="365"/>
                    <a:pt x="567" y="358"/>
                  </a:cubicBezTo>
                  <a:cubicBezTo>
                    <a:pt x="567" y="13"/>
                    <a:pt x="567" y="13"/>
                    <a:pt x="567" y="13"/>
                  </a:cubicBezTo>
                  <a:cubicBezTo>
                    <a:pt x="567" y="6"/>
                    <a:pt x="562" y="0"/>
                    <a:pt x="555" y="0"/>
                  </a:cubicBezTo>
                  <a:close/>
                  <a:moveTo>
                    <a:pt x="334" y="458"/>
                  </a:moveTo>
                  <a:cubicBezTo>
                    <a:pt x="234" y="458"/>
                    <a:pt x="234" y="458"/>
                    <a:pt x="234" y="458"/>
                  </a:cubicBezTo>
                  <a:cubicBezTo>
                    <a:pt x="234" y="370"/>
                    <a:pt x="234" y="370"/>
                    <a:pt x="234" y="370"/>
                  </a:cubicBezTo>
                  <a:cubicBezTo>
                    <a:pt x="334" y="370"/>
                    <a:pt x="334" y="370"/>
                    <a:pt x="334" y="370"/>
                  </a:cubicBezTo>
                  <a:lnTo>
                    <a:pt x="334" y="458"/>
                  </a:lnTo>
                  <a:close/>
                  <a:moveTo>
                    <a:pt x="543" y="346"/>
                  </a:moveTo>
                  <a:cubicBezTo>
                    <a:pt x="25" y="346"/>
                    <a:pt x="25" y="346"/>
                    <a:pt x="25" y="346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43" y="25"/>
                    <a:pt x="543" y="25"/>
                    <a:pt x="543" y="25"/>
                  </a:cubicBezTo>
                  <a:lnTo>
                    <a:pt x="543" y="346"/>
                  </a:lnTo>
                  <a:close/>
                </a:path>
              </a:pathLst>
            </a:custGeom>
            <a:solidFill>
              <a:srgbClr val="F9AFA1"/>
            </a:solidFill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96E3FB09-1334-4346-96C2-D1E89F3728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3142" y="1875941"/>
              <a:ext cx="1225952" cy="1044602"/>
            </a:xfrm>
            <a:custGeom>
              <a:avLst/>
              <a:gdLst>
                <a:gd name="T0" fmla="*/ 555 w 567"/>
                <a:gd name="T1" fmla="*/ 0 h 482"/>
                <a:gd name="T2" fmla="*/ 13 w 567"/>
                <a:gd name="T3" fmla="*/ 0 h 482"/>
                <a:gd name="T4" fmla="*/ 0 w 567"/>
                <a:gd name="T5" fmla="*/ 13 h 482"/>
                <a:gd name="T6" fmla="*/ 0 w 567"/>
                <a:gd name="T7" fmla="*/ 358 h 482"/>
                <a:gd name="T8" fmla="*/ 13 w 567"/>
                <a:gd name="T9" fmla="*/ 370 h 482"/>
                <a:gd name="T10" fmla="*/ 209 w 567"/>
                <a:gd name="T11" fmla="*/ 370 h 482"/>
                <a:gd name="T12" fmla="*/ 209 w 567"/>
                <a:gd name="T13" fmla="*/ 458 h 482"/>
                <a:gd name="T14" fmla="*/ 193 w 567"/>
                <a:gd name="T15" fmla="*/ 458 h 482"/>
                <a:gd name="T16" fmla="*/ 181 w 567"/>
                <a:gd name="T17" fmla="*/ 470 h 482"/>
                <a:gd name="T18" fmla="*/ 193 w 567"/>
                <a:gd name="T19" fmla="*/ 482 h 482"/>
                <a:gd name="T20" fmla="*/ 375 w 567"/>
                <a:gd name="T21" fmla="*/ 482 h 482"/>
                <a:gd name="T22" fmla="*/ 387 w 567"/>
                <a:gd name="T23" fmla="*/ 470 h 482"/>
                <a:gd name="T24" fmla="*/ 375 w 567"/>
                <a:gd name="T25" fmla="*/ 458 h 482"/>
                <a:gd name="T26" fmla="*/ 359 w 567"/>
                <a:gd name="T27" fmla="*/ 458 h 482"/>
                <a:gd name="T28" fmla="*/ 359 w 567"/>
                <a:gd name="T29" fmla="*/ 370 h 482"/>
                <a:gd name="T30" fmla="*/ 555 w 567"/>
                <a:gd name="T31" fmla="*/ 370 h 482"/>
                <a:gd name="T32" fmla="*/ 567 w 567"/>
                <a:gd name="T33" fmla="*/ 358 h 482"/>
                <a:gd name="T34" fmla="*/ 567 w 567"/>
                <a:gd name="T35" fmla="*/ 13 h 482"/>
                <a:gd name="T36" fmla="*/ 555 w 567"/>
                <a:gd name="T37" fmla="*/ 0 h 482"/>
                <a:gd name="T38" fmla="*/ 334 w 567"/>
                <a:gd name="T39" fmla="*/ 458 h 482"/>
                <a:gd name="T40" fmla="*/ 234 w 567"/>
                <a:gd name="T41" fmla="*/ 458 h 482"/>
                <a:gd name="T42" fmla="*/ 234 w 567"/>
                <a:gd name="T43" fmla="*/ 370 h 482"/>
                <a:gd name="T44" fmla="*/ 334 w 567"/>
                <a:gd name="T45" fmla="*/ 370 h 482"/>
                <a:gd name="T46" fmla="*/ 334 w 567"/>
                <a:gd name="T47" fmla="*/ 458 h 482"/>
                <a:gd name="T48" fmla="*/ 543 w 567"/>
                <a:gd name="T49" fmla="*/ 346 h 482"/>
                <a:gd name="T50" fmla="*/ 25 w 567"/>
                <a:gd name="T51" fmla="*/ 346 h 482"/>
                <a:gd name="T52" fmla="*/ 25 w 567"/>
                <a:gd name="T53" fmla="*/ 25 h 482"/>
                <a:gd name="T54" fmla="*/ 543 w 567"/>
                <a:gd name="T55" fmla="*/ 25 h 482"/>
                <a:gd name="T56" fmla="*/ 543 w 567"/>
                <a:gd name="T57" fmla="*/ 346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67" h="482">
                  <a:moveTo>
                    <a:pt x="555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65"/>
                    <a:pt x="6" y="370"/>
                    <a:pt x="13" y="370"/>
                  </a:cubicBezTo>
                  <a:cubicBezTo>
                    <a:pt x="209" y="370"/>
                    <a:pt x="209" y="370"/>
                    <a:pt x="209" y="370"/>
                  </a:cubicBezTo>
                  <a:cubicBezTo>
                    <a:pt x="209" y="458"/>
                    <a:pt x="209" y="458"/>
                    <a:pt x="209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86" y="458"/>
                    <a:pt x="181" y="463"/>
                    <a:pt x="181" y="470"/>
                  </a:cubicBezTo>
                  <a:cubicBezTo>
                    <a:pt x="181" y="477"/>
                    <a:pt x="186" y="482"/>
                    <a:pt x="193" y="482"/>
                  </a:cubicBezTo>
                  <a:cubicBezTo>
                    <a:pt x="375" y="482"/>
                    <a:pt x="375" y="482"/>
                    <a:pt x="375" y="482"/>
                  </a:cubicBezTo>
                  <a:cubicBezTo>
                    <a:pt x="382" y="482"/>
                    <a:pt x="387" y="477"/>
                    <a:pt x="387" y="470"/>
                  </a:cubicBezTo>
                  <a:cubicBezTo>
                    <a:pt x="387" y="463"/>
                    <a:pt x="382" y="458"/>
                    <a:pt x="375" y="458"/>
                  </a:cubicBezTo>
                  <a:cubicBezTo>
                    <a:pt x="359" y="458"/>
                    <a:pt x="359" y="458"/>
                    <a:pt x="359" y="458"/>
                  </a:cubicBezTo>
                  <a:cubicBezTo>
                    <a:pt x="359" y="370"/>
                    <a:pt x="359" y="370"/>
                    <a:pt x="359" y="370"/>
                  </a:cubicBezTo>
                  <a:cubicBezTo>
                    <a:pt x="555" y="370"/>
                    <a:pt x="555" y="370"/>
                    <a:pt x="555" y="370"/>
                  </a:cubicBezTo>
                  <a:cubicBezTo>
                    <a:pt x="562" y="370"/>
                    <a:pt x="567" y="365"/>
                    <a:pt x="567" y="358"/>
                  </a:cubicBezTo>
                  <a:cubicBezTo>
                    <a:pt x="567" y="13"/>
                    <a:pt x="567" y="13"/>
                    <a:pt x="567" y="13"/>
                  </a:cubicBezTo>
                  <a:cubicBezTo>
                    <a:pt x="567" y="6"/>
                    <a:pt x="562" y="0"/>
                    <a:pt x="555" y="0"/>
                  </a:cubicBezTo>
                  <a:close/>
                  <a:moveTo>
                    <a:pt x="334" y="458"/>
                  </a:moveTo>
                  <a:cubicBezTo>
                    <a:pt x="234" y="458"/>
                    <a:pt x="234" y="458"/>
                    <a:pt x="234" y="458"/>
                  </a:cubicBezTo>
                  <a:cubicBezTo>
                    <a:pt x="234" y="370"/>
                    <a:pt x="234" y="370"/>
                    <a:pt x="234" y="370"/>
                  </a:cubicBezTo>
                  <a:cubicBezTo>
                    <a:pt x="334" y="370"/>
                    <a:pt x="334" y="370"/>
                    <a:pt x="334" y="370"/>
                  </a:cubicBezTo>
                  <a:lnTo>
                    <a:pt x="334" y="458"/>
                  </a:lnTo>
                  <a:close/>
                  <a:moveTo>
                    <a:pt x="543" y="346"/>
                  </a:moveTo>
                  <a:cubicBezTo>
                    <a:pt x="25" y="346"/>
                    <a:pt x="25" y="346"/>
                    <a:pt x="25" y="346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43" y="25"/>
                    <a:pt x="543" y="25"/>
                    <a:pt x="543" y="25"/>
                  </a:cubicBezTo>
                  <a:lnTo>
                    <a:pt x="543" y="346"/>
                  </a:lnTo>
                  <a:close/>
                </a:path>
              </a:pathLst>
            </a:custGeom>
            <a:solidFill>
              <a:srgbClr val="F2F2F2"/>
            </a:solidFill>
            <a:ln w="9525">
              <a:solidFill>
                <a:srgbClr val="F9AFA1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58996AE1-9B76-449D-8A34-339AB4B590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0918" y="1984754"/>
              <a:ext cx="1012473" cy="586552"/>
            </a:xfrm>
            <a:custGeom>
              <a:avLst/>
              <a:gdLst>
                <a:gd name="T0" fmla="*/ 12 w 468"/>
                <a:gd name="T1" fmla="*/ 271 h 271"/>
                <a:gd name="T2" fmla="*/ 456 w 468"/>
                <a:gd name="T3" fmla="*/ 271 h 271"/>
                <a:gd name="T4" fmla="*/ 468 w 468"/>
                <a:gd name="T5" fmla="*/ 259 h 271"/>
                <a:gd name="T6" fmla="*/ 468 w 468"/>
                <a:gd name="T7" fmla="*/ 12 h 271"/>
                <a:gd name="T8" fmla="*/ 456 w 468"/>
                <a:gd name="T9" fmla="*/ 0 h 271"/>
                <a:gd name="T10" fmla="*/ 12 w 468"/>
                <a:gd name="T11" fmla="*/ 0 h 271"/>
                <a:gd name="T12" fmla="*/ 0 w 468"/>
                <a:gd name="T13" fmla="*/ 12 h 271"/>
                <a:gd name="T14" fmla="*/ 0 w 468"/>
                <a:gd name="T15" fmla="*/ 259 h 271"/>
                <a:gd name="T16" fmla="*/ 12 w 468"/>
                <a:gd name="T17" fmla="*/ 271 h 271"/>
                <a:gd name="T18" fmla="*/ 24 w 468"/>
                <a:gd name="T19" fmla="*/ 24 h 271"/>
                <a:gd name="T20" fmla="*/ 443 w 468"/>
                <a:gd name="T21" fmla="*/ 24 h 271"/>
                <a:gd name="T22" fmla="*/ 443 w 468"/>
                <a:gd name="T23" fmla="*/ 246 h 271"/>
                <a:gd name="T24" fmla="*/ 24 w 468"/>
                <a:gd name="T25" fmla="*/ 246 h 271"/>
                <a:gd name="T26" fmla="*/ 24 w 468"/>
                <a:gd name="T27" fmla="*/ 24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8" h="271">
                  <a:moveTo>
                    <a:pt x="12" y="271"/>
                  </a:moveTo>
                  <a:cubicBezTo>
                    <a:pt x="456" y="271"/>
                    <a:pt x="456" y="271"/>
                    <a:pt x="456" y="271"/>
                  </a:cubicBezTo>
                  <a:cubicBezTo>
                    <a:pt x="463" y="271"/>
                    <a:pt x="468" y="265"/>
                    <a:pt x="468" y="259"/>
                  </a:cubicBezTo>
                  <a:cubicBezTo>
                    <a:pt x="468" y="12"/>
                    <a:pt x="468" y="12"/>
                    <a:pt x="468" y="12"/>
                  </a:cubicBezTo>
                  <a:cubicBezTo>
                    <a:pt x="468" y="5"/>
                    <a:pt x="463" y="0"/>
                    <a:pt x="456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259"/>
                    <a:pt x="0" y="259"/>
                    <a:pt x="0" y="259"/>
                  </a:cubicBezTo>
                  <a:cubicBezTo>
                    <a:pt x="0" y="265"/>
                    <a:pt x="5" y="271"/>
                    <a:pt x="12" y="271"/>
                  </a:cubicBezTo>
                  <a:close/>
                  <a:moveTo>
                    <a:pt x="24" y="24"/>
                  </a:moveTo>
                  <a:cubicBezTo>
                    <a:pt x="443" y="24"/>
                    <a:pt x="443" y="24"/>
                    <a:pt x="443" y="24"/>
                  </a:cubicBezTo>
                  <a:cubicBezTo>
                    <a:pt x="443" y="246"/>
                    <a:pt x="443" y="246"/>
                    <a:pt x="443" y="246"/>
                  </a:cubicBezTo>
                  <a:cubicBezTo>
                    <a:pt x="24" y="246"/>
                    <a:pt x="24" y="246"/>
                    <a:pt x="24" y="246"/>
                  </a:cubicBezTo>
                  <a:lnTo>
                    <a:pt x="24" y="24"/>
                  </a:lnTo>
                  <a:close/>
                </a:path>
              </a:pathLst>
            </a:custGeom>
            <a:solidFill>
              <a:srgbClr val="F9AFA1"/>
            </a:solidFill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id="{0B489778-1C80-41D2-993D-B246980E17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0918" y="1984754"/>
              <a:ext cx="1012473" cy="586552"/>
            </a:xfrm>
            <a:custGeom>
              <a:avLst/>
              <a:gdLst>
                <a:gd name="T0" fmla="*/ 12 w 468"/>
                <a:gd name="T1" fmla="*/ 271 h 271"/>
                <a:gd name="T2" fmla="*/ 456 w 468"/>
                <a:gd name="T3" fmla="*/ 271 h 271"/>
                <a:gd name="T4" fmla="*/ 468 w 468"/>
                <a:gd name="T5" fmla="*/ 259 h 271"/>
                <a:gd name="T6" fmla="*/ 468 w 468"/>
                <a:gd name="T7" fmla="*/ 12 h 271"/>
                <a:gd name="T8" fmla="*/ 456 w 468"/>
                <a:gd name="T9" fmla="*/ 0 h 271"/>
                <a:gd name="T10" fmla="*/ 12 w 468"/>
                <a:gd name="T11" fmla="*/ 0 h 271"/>
                <a:gd name="T12" fmla="*/ 0 w 468"/>
                <a:gd name="T13" fmla="*/ 12 h 271"/>
                <a:gd name="T14" fmla="*/ 0 w 468"/>
                <a:gd name="T15" fmla="*/ 259 h 271"/>
                <a:gd name="T16" fmla="*/ 12 w 468"/>
                <a:gd name="T17" fmla="*/ 271 h 271"/>
                <a:gd name="T18" fmla="*/ 24 w 468"/>
                <a:gd name="T19" fmla="*/ 24 h 271"/>
                <a:gd name="T20" fmla="*/ 443 w 468"/>
                <a:gd name="T21" fmla="*/ 24 h 271"/>
                <a:gd name="T22" fmla="*/ 443 w 468"/>
                <a:gd name="T23" fmla="*/ 246 h 271"/>
                <a:gd name="T24" fmla="*/ 24 w 468"/>
                <a:gd name="T25" fmla="*/ 246 h 271"/>
                <a:gd name="T26" fmla="*/ 24 w 468"/>
                <a:gd name="T27" fmla="*/ 24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8" h="271">
                  <a:moveTo>
                    <a:pt x="12" y="271"/>
                  </a:moveTo>
                  <a:cubicBezTo>
                    <a:pt x="456" y="271"/>
                    <a:pt x="456" y="271"/>
                    <a:pt x="456" y="271"/>
                  </a:cubicBezTo>
                  <a:cubicBezTo>
                    <a:pt x="463" y="271"/>
                    <a:pt x="468" y="265"/>
                    <a:pt x="468" y="259"/>
                  </a:cubicBezTo>
                  <a:cubicBezTo>
                    <a:pt x="468" y="12"/>
                    <a:pt x="468" y="12"/>
                    <a:pt x="468" y="12"/>
                  </a:cubicBezTo>
                  <a:cubicBezTo>
                    <a:pt x="468" y="5"/>
                    <a:pt x="463" y="0"/>
                    <a:pt x="456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259"/>
                    <a:pt x="0" y="259"/>
                    <a:pt x="0" y="259"/>
                  </a:cubicBezTo>
                  <a:cubicBezTo>
                    <a:pt x="0" y="265"/>
                    <a:pt x="5" y="271"/>
                    <a:pt x="12" y="271"/>
                  </a:cubicBezTo>
                  <a:close/>
                  <a:moveTo>
                    <a:pt x="24" y="24"/>
                  </a:moveTo>
                  <a:cubicBezTo>
                    <a:pt x="443" y="24"/>
                    <a:pt x="443" y="24"/>
                    <a:pt x="443" y="24"/>
                  </a:cubicBezTo>
                  <a:cubicBezTo>
                    <a:pt x="443" y="246"/>
                    <a:pt x="443" y="246"/>
                    <a:pt x="443" y="246"/>
                  </a:cubicBezTo>
                  <a:cubicBezTo>
                    <a:pt x="24" y="246"/>
                    <a:pt x="24" y="246"/>
                    <a:pt x="24" y="246"/>
                  </a:cubicBezTo>
                  <a:lnTo>
                    <a:pt x="24" y="24"/>
                  </a:lnTo>
                  <a:close/>
                </a:path>
              </a:pathLst>
            </a:custGeom>
            <a:solidFill>
              <a:srgbClr val="F2F2F2"/>
            </a:solidFill>
            <a:ln w="9525">
              <a:solidFill>
                <a:srgbClr val="F9AFA1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" name="Group 19">
            <a:extLst>
              <a:ext uri="{FF2B5EF4-FFF2-40B4-BE49-F238E27FC236}">
                <a16:creationId xmlns:a16="http://schemas.microsoft.com/office/drawing/2014/main" id="{B9C1D7E9-23DC-4002-B56D-90492EBE76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97231" y="2144718"/>
            <a:ext cx="397263" cy="390882"/>
            <a:chOff x="3195" y="1138"/>
            <a:chExt cx="1183" cy="1164"/>
          </a:xfrm>
          <a:solidFill>
            <a:schemeClr val="accent3"/>
          </a:solidFill>
        </p:grpSpPr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D3BEB764-14F9-4A5E-B622-C9AAD59CC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7" y="1614"/>
              <a:ext cx="96" cy="314"/>
            </a:xfrm>
            <a:custGeom>
              <a:avLst/>
              <a:gdLst>
                <a:gd name="T0" fmla="*/ 67 w 96"/>
                <a:gd name="T1" fmla="*/ 15 h 314"/>
                <a:gd name="T2" fmla="*/ 58 w 96"/>
                <a:gd name="T3" fmla="*/ 21 h 314"/>
                <a:gd name="T4" fmla="*/ 42 w 96"/>
                <a:gd name="T5" fmla="*/ 38 h 314"/>
                <a:gd name="T6" fmla="*/ 35 w 96"/>
                <a:gd name="T7" fmla="*/ 46 h 314"/>
                <a:gd name="T8" fmla="*/ 27 w 96"/>
                <a:gd name="T9" fmla="*/ 57 h 314"/>
                <a:gd name="T10" fmla="*/ 23 w 96"/>
                <a:gd name="T11" fmla="*/ 67 h 314"/>
                <a:gd name="T12" fmla="*/ 17 w 96"/>
                <a:gd name="T13" fmla="*/ 78 h 314"/>
                <a:gd name="T14" fmla="*/ 13 w 96"/>
                <a:gd name="T15" fmla="*/ 90 h 314"/>
                <a:gd name="T16" fmla="*/ 8 w 96"/>
                <a:gd name="T17" fmla="*/ 103 h 314"/>
                <a:gd name="T18" fmla="*/ 4 w 96"/>
                <a:gd name="T19" fmla="*/ 117 h 314"/>
                <a:gd name="T20" fmla="*/ 4 w 96"/>
                <a:gd name="T21" fmla="*/ 130 h 314"/>
                <a:gd name="T22" fmla="*/ 0 w 96"/>
                <a:gd name="T23" fmla="*/ 145 h 314"/>
                <a:gd name="T24" fmla="*/ 0 w 96"/>
                <a:gd name="T25" fmla="*/ 172 h 314"/>
                <a:gd name="T26" fmla="*/ 4 w 96"/>
                <a:gd name="T27" fmla="*/ 184 h 314"/>
                <a:gd name="T28" fmla="*/ 4 w 96"/>
                <a:gd name="T29" fmla="*/ 199 h 314"/>
                <a:gd name="T30" fmla="*/ 8 w 96"/>
                <a:gd name="T31" fmla="*/ 211 h 314"/>
                <a:gd name="T32" fmla="*/ 13 w 96"/>
                <a:gd name="T33" fmla="*/ 224 h 314"/>
                <a:gd name="T34" fmla="*/ 17 w 96"/>
                <a:gd name="T35" fmla="*/ 237 h 314"/>
                <a:gd name="T36" fmla="*/ 23 w 96"/>
                <a:gd name="T37" fmla="*/ 247 h 314"/>
                <a:gd name="T38" fmla="*/ 27 w 96"/>
                <a:gd name="T39" fmla="*/ 257 h 314"/>
                <a:gd name="T40" fmla="*/ 35 w 96"/>
                <a:gd name="T41" fmla="*/ 270 h 314"/>
                <a:gd name="T42" fmla="*/ 42 w 96"/>
                <a:gd name="T43" fmla="*/ 278 h 314"/>
                <a:gd name="T44" fmla="*/ 58 w 96"/>
                <a:gd name="T45" fmla="*/ 293 h 314"/>
                <a:gd name="T46" fmla="*/ 67 w 96"/>
                <a:gd name="T47" fmla="*/ 299 h 314"/>
                <a:gd name="T48" fmla="*/ 75 w 96"/>
                <a:gd name="T49" fmla="*/ 306 h 314"/>
                <a:gd name="T50" fmla="*/ 86 w 96"/>
                <a:gd name="T51" fmla="*/ 312 h 314"/>
                <a:gd name="T52" fmla="*/ 96 w 96"/>
                <a:gd name="T53" fmla="*/ 314 h 314"/>
                <a:gd name="T54" fmla="*/ 96 w 96"/>
                <a:gd name="T55" fmla="*/ 0 h 314"/>
                <a:gd name="T56" fmla="*/ 86 w 96"/>
                <a:gd name="T57" fmla="*/ 5 h 314"/>
                <a:gd name="T58" fmla="*/ 67 w 96"/>
                <a:gd name="T59" fmla="*/ 1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314">
                  <a:moveTo>
                    <a:pt x="67" y="15"/>
                  </a:moveTo>
                  <a:lnTo>
                    <a:pt x="58" y="21"/>
                  </a:lnTo>
                  <a:lnTo>
                    <a:pt x="42" y="38"/>
                  </a:lnTo>
                  <a:lnTo>
                    <a:pt x="35" y="46"/>
                  </a:lnTo>
                  <a:lnTo>
                    <a:pt x="27" y="57"/>
                  </a:lnTo>
                  <a:lnTo>
                    <a:pt x="23" y="67"/>
                  </a:lnTo>
                  <a:lnTo>
                    <a:pt x="17" y="78"/>
                  </a:lnTo>
                  <a:lnTo>
                    <a:pt x="13" y="90"/>
                  </a:lnTo>
                  <a:lnTo>
                    <a:pt x="8" y="103"/>
                  </a:lnTo>
                  <a:lnTo>
                    <a:pt x="4" y="117"/>
                  </a:lnTo>
                  <a:lnTo>
                    <a:pt x="4" y="130"/>
                  </a:lnTo>
                  <a:lnTo>
                    <a:pt x="0" y="145"/>
                  </a:lnTo>
                  <a:lnTo>
                    <a:pt x="0" y="172"/>
                  </a:lnTo>
                  <a:lnTo>
                    <a:pt x="4" y="184"/>
                  </a:lnTo>
                  <a:lnTo>
                    <a:pt x="4" y="199"/>
                  </a:lnTo>
                  <a:lnTo>
                    <a:pt x="8" y="211"/>
                  </a:lnTo>
                  <a:lnTo>
                    <a:pt x="13" y="224"/>
                  </a:lnTo>
                  <a:lnTo>
                    <a:pt x="17" y="237"/>
                  </a:lnTo>
                  <a:lnTo>
                    <a:pt x="23" y="247"/>
                  </a:lnTo>
                  <a:lnTo>
                    <a:pt x="27" y="257"/>
                  </a:lnTo>
                  <a:lnTo>
                    <a:pt x="35" y="270"/>
                  </a:lnTo>
                  <a:lnTo>
                    <a:pt x="42" y="278"/>
                  </a:lnTo>
                  <a:lnTo>
                    <a:pt x="58" y="293"/>
                  </a:lnTo>
                  <a:lnTo>
                    <a:pt x="67" y="299"/>
                  </a:lnTo>
                  <a:lnTo>
                    <a:pt x="75" y="306"/>
                  </a:lnTo>
                  <a:lnTo>
                    <a:pt x="86" y="312"/>
                  </a:lnTo>
                  <a:lnTo>
                    <a:pt x="96" y="314"/>
                  </a:lnTo>
                  <a:lnTo>
                    <a:pt x="96" y="0"/>
                  </a:lnTo>
                  <a:lnTo>
                    <a:pt x="86" y="5"/>
                  </a:lnTo>
                  <a:lnTo>
                    <a:pt x="67" y="15"/>
                  </a:lnTo>
                  <a:close/>
                </a:path>
              </a:pathLst>
            </a:custGeom>
            <a:grpFill/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E33234E7-92A2-4BBA-AE9B-6843F061F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0" y="1614"/>
              <a:ext cx="96" cy="314"/>
            </a:xfrm>
            <a:custGeom>
              <a:avLst/>
              <a:gdLst>
                <a:gd name="T0" fmla="*/ 92 w 96"/>
                <a:gd name="T1" fmla="*/ 117 h 314"/>
                <a:gd name="T2" fmla="*/ 87 w 96"/>
                <a:gd name="T3" fmla="*/ 103 h 314"/>
                <a:gd name="T4" fmla="*/ 83 w 96"/>
                <a:gd name="T5" fmla="*/ 90 h 314"/>
                <a:gd name="T6" fmla="*/ 79 w 96"/>
                <a:gd name="T7" fmla="*/ 78 h 314"/>
                <a:gd name="T8" fmla="*/ 75 w 96"/>
                <a:gd name="T9" fmla="*/ 67 h 314"/>
                <a:gd name="T10" fmla="*/ 69 w 96"/>
                <a:gd name="T11" fmla="*/ 57 h 314"/>
                <a:gd name="T12" fmla="*/ 62 w 96"/>
                <a:gd name="T13" fmla="*/ 46 h 314"/>
                <a:gd name="T14" fmla="*/ 54 w 96"/>
                <a:gd name="T15" fmla="*/ 38 h 314"/>
                <a:gd name="T16" fmla="*/ 39 w 96"/>
                <a:gd name="T17" fmla="*/ 21 h 314"/>
                <a:gd name="T18" fmla="*/ 31 w 96"/>
                <a:gd name="T19" fmla="*/ 15 h 314"/>
                <a:gd name="T20" fmla="*/ 10 w 96"/>
                <a:gd name="T21" fmla="*/ 5 h 314"/>
                <a:gd name="T22" fmla="*/ 0 w 96"/>
                <a:gd name="T23" fmla="*/ 0 h 314"/>
                <a:gd name="T24" fmla="*/ 0 w 96"/>
                <a:gd name="T25" fmla="*/ 314 h 314"/>
                <a:gd name="T26" fmla="*/ 10 w 96"/>
                <a:gd name="T27" fmla="*/ 312 h 314"/>
                <a:gd name="T28" fmla="*/ 21 w 96"/>
                <a:gd name="T29" fmla="*/ 306 h 314"/>
                <a:gd name="T30" fmla="*/ 31 w 96"/>
                <a:gd name="T31" fmla="*/ 299 h 314"/>
                <a:gd name="T32" fmla="*/ 39 w 96"/>
                <a:gd name="T33" fmla="*/ 293 h 314"/>
                <a:gd name="T34" fmla="*/ 54 w 96"/>
                <a:gd name="T35" fmla="*/ 278 h 314"/>
                <a:gd name="T36" fmla="*/ 62 w 96"/>
                <a:gd name="T37" fmla="*/ 270 h 314"/>
                <a:gd name="T38" fmla="*/ 69 w 96"/>
                <a:gd name="T39" fmla="*/ 257 h 314"/>
                <a:gd name="T40" fmla="*/ 75 w 96"/>
                <a:gd name="T41" fmla="*/ 247 h 314"/>
                <a:gd name="T42" fmla="*/ 79 w 96"/>
                <a:gd name="T43" fmla="*/ 237 h 314"/>
                <a:gd name="T44" fmla="*/ 83 w 96"/>
                <a:gd name="T45" fmla="*/ 224 h 314"/>
                <a:gd name="T46" fmla="*/ 87 w 96"/>
                <a:gd name="T47" fmla="*/ 211 h 314"/>
                <a:gd name="T48" fmla="*/ 92 w 96"/>
                <a:gd name="T49" fmla="*/ 199 h 314"/>
                <a:gd name="T50" fmla="*/ 92 w 96"/>
                <a:gd name="T51" fmla="*/ 184 h 314"/>
                <a:gd name="T52" fmla="*/ 96 w 96"/>
                <a:gd name="T53" fmla="*/ 172 h 314"/>
                <a:gd name="T54" fmla="*/ 96 w 96"/>
                <a:gd name="T55" fmla="*/ 145 h 314"/>
                <a:gd name="T56" fmla="*/ 92 w 96"/>
                <a:gd name="T57" fmla="*/ 130 h 314"/>
                <a:gd name="T58" fmla="*/ 92 w 96"/>
                <a:gd name="T59" fmla="*/ 117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6" h="314">
                  <a:moveTo>
                    <a:pt x="92" y="117"/>
                  </a:moveTo>
                  <a:lnTo>
                    <a:pt x="87" y="103"/>
                  </a:lnTo>
                  <a:lnTo>
                    <a:pt x="83" y="90"/>
                  </a:lnTo>
                  <a:lnTo>
                    <a:pt x="79" y="78"/>
                  </a:lnTo>
                  <a:lnTo>
                    <a:pt x="75" y="67"/>
                  </a:lnTo>
                  <a:lnTo>
                    <a:pt x="69" y="57"/>
                  </a:lnTo>
                  <a:lnTo>
                    <a:pt x="62" y="46"/>
                  </a:lnTo>
                  <a:lnTo>
                    <a:pt x="54" y="38"/>
                  </a:lnTo>
                  <a:lnTo>
                    <a:pt x="39" y="21"/>
                  </a:lnTo>
                  <a:lnTo>
                    <a:pt x="31" y="15"/>
                  </a:lnTo>
                  <a:lnTo>
                    <a:pt x="10" y="5"/>
                  </a:lnTo>
                  <a:lnTo>
                    <a:pt x="0" y="0"/>
                  </a:lnTo>
                  <a:lnTo>
                    <a:pt x="0" y="314"/>
                  </a:lnTo>
                  <a:lnTo>
                    <a:pt x="10" y="312"/>
                  </a:lnTo>
                  <a:lnTo>
                    <a:pt x="21" y="306"/>
                  </a:lnTo>
                  <a:lnTo>
                    <a:pt x="31" y="299"/>
                  </a:lnTo>
                  <a:lnTo>
                    <a:pt x="39" y="293"/>
                  </a:lnTo>
                  <a:lnTo>
                    <a:pt x="54" y="278"/>
                  </a:lnTo>
                  <a:lnTo>
                    <a:pt x="62" y="270"/>
                  </a:lnTo>
                  <a:lnTo>
                    <a:pt x="69" y="257"/>
                  </a:lnTo>
                  <a:lnTo>
                    <a:pt x="75" y="247"/>
                  </a:lnTo>
                  <a:lnTo>
                    <a:pt x="79" y="237"/>
                  </a:lnTo>
                  <a:lnTo>
                    <a:pt x="83" y="224"/>
                  </a:lnTo>
                  <a:lnTo>
                    <a:pt x="87" y="211"/>
                  </a:lnTo>
                  <a:lnTo>
                    <a:pt x="92" y="199"/>
                  </a:lnTo>
                  <a:lnTo>
                    <a:pt x="92" y="184"/>
                  </a:lnTo>
                  <a:lnTo>
                    <a:pt x="96" y="172"/>
                  </a:lnTo>
                  <a:lnTo>
                    <a:pt x="96" y="145"/>
                  </a:lnTo>
                  <a:lnTo>
                    <a:pt x="92" y="130"/>
                  </a:lnTo>
                  <a:lnTo>
                    <a:pt x="92" y="117"/>
                  </a:lnTo>
                  <a:close/>
                </a:path>
              </a:pathLst>
            </a:custGeom>
            <a:grpFill/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7B4AE26B-C423-483F-B535-FE83E30A0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6" y="1299"/>
              <a:ext cx="661" cy="949"/>
            </a:xfrm>
            <a:custGeom>
              <a:avLst/>
              <a:gdLst>
                <a:gd name="T0" fmla="*/ 10 w 661"/>
                <a:gd name="T1" fmla="*/ 627 h 949"/>
                <a:gd name="T2" fmla="*/ 29 w 661"/>
                <a:gd name="T3" fmla="*/ 721 h 949"/>
                <a:gd name="T4" fmla="*/ 185 w 661"/>
                <a:gd name="T5" fmla="*/ 740 h 949"/>
                <a:gd name="T6" fmla="*/ 215 w 661"/>
                <a:gd name="T7" fmla="*/ 710 h 949"/>
                <a:gd name="T8" fmla="*/ 327 w 661"/>
                <a:gd name="T9" fmla="*/ 704 h 949"/>
                <a:gd name="T10" fmla="*/ 365 w 661"/>
                <a:gd name="T11" fmla="*/ 715 h 949"/>
                <a:gd name="T12" fmla="*/ 390 w 661"/>
                <a:gd name="T13" fmla="*/ 744 h 949"/>
                <a:gd name="T14" fmla="*/ 394 w 661"/>
                <a:gd name="T15" fmla="*/ 781 h 949"/>
                <a:gd name="T16" fmla="*/ 384 w 661"/>
                <a:gd name="T17" fmla="*/ 819 h 949"/>
                <a:gd name="T18" fmla="*/ 354 w 661"/>
                <a:gd name="T19" fmla="*/ 844 h 949"/>
                <a:gd name="T20" fmla="*/ 246 w 661"/>
                <a:gd name="T21" fmla="*/ 848 h 949"/>
                <a:gd name="T22" fmla="*/ 215 w 661"/>
                <a:gd name="T23" fmla="*/ 840 h 949"/>
                <a:gd name="T24" fmla="*/ 190 w 661"/>
                <a:gd name="T25" fmla="*/ 821 h 949"/>
                <a:gd name="T26" fmla="*/ 62 w 661"/>
                <a:gd name="T27" fmla="*/ 802 h 949"/>
                <a:gd name="T28" fmla="*/ 94 w 661"/>
                <a:gd name="T29" fmla="*/ 852 h 949"/>
                <a:gd name="T30" fmla="*/ 152 w 661"/>
                <a:gd name="T31" fmla="*/ 905 h 949"/>
                <a:gd name="T32" fmla="*/ 204 w 661"/>
                <a:gd name="T33" fmla="*/ 930 h 949"/>
                <a:gd name="T34" fmla="*/ 267 w 661"/>
                <a:gd name="T35" fmla="*/ 944 h 949"/>
                <a:gd name="T36" fmla="*/ 377 w 661"/>
                <a:gd name="T37" fmla="*/ 949 h 949"/>
                <a:gd name="T38" fmla="*/ 434 w 661"/>
                <a:gd name="T39" fmla="*/ 940 h 949"/>
                <a:gd name="T40" fmla="*/ 484 w 661"/>
                <a:gd name="T41" fmla="*/ 921 h 949"/>
                <a:gd name="T42" fmla="*/ 540 w 661"/>
                <a:gd name="T43" fmla="*/ 888 h 949"/>
                <a:gd name="T44" fmla="*/ 586 w 661"/>
                <a:gd name="T45" fmla="*/ 838 h 949"/>
                <a:gd name="T46" fmla="*/ 619 w 661"/>
                <a:gd name="T47" fmla="*/ 773 h 949"/>
                <a:gd name="T48" fmla="*/ 638 w 661"/>
                <a:gd name="T49" fmla="*/ 712 h 949"/>
                <a:gd name="T50" fmla="*/ 651 w 661"/>
                <a:gd name="T51" fmla="*/ 644 h 949"/>
                <a:gd name="T52" fmla="*/ 661 w 661"/>
                <a:gd name="T53" fmla="*/ 474 h 949"/>
                <a:gd name="T54" fmla="*/ 651 w 661"/>
                <a:gd name="T55" fmla="*/ 305 h 949"/>
                <a:gd name="T56" fmla="*/ 632 w 661"/>
                <a:gd name="T57" fmla="*/ 215 h 949"/>
                <a:gd name="T58" fmla="*/ 603 w 661"/>
                <a:gd name="T59" fmla="*/ 142 h 949"/>
                <a:gd name="T60" fmla="*/ 576 w 661"/>
                <a:gd name="T61" fmla="*/ 98 h 949"/>
                <a:gd name="T62" fmla="*/ 515 w 661"/>
                <a:gd name="T63" fmla="*/ 42 h 949"/>
                <a:gd name="T64" fmla="*/ 467 w 661"/>
                <a:gd name="T65" fmla="*/ 19 h 949"/>
                <a:gd name="T66" fmla="*/ 396 w 661"/>
                <a:gd name="T67" fmla="*/ 2 h 949"/>
                <a:gd name="T68" fmla="*/ 315 w 661"/>
                <a:gd name="T69" fmla="*/ 0 h 949"/>
                <a:gd name="T70" fmla="*/ 235 w 661"/>
                <a:gd name="T71" fmla="*/ 10 h 949"/>
                <a:gd name="T72" fmla="*/ 154 w 661"/>
                <a:gd name="T73" fmla="*/ 44 h 949"/>
                <a:gd name="T74" fmla="*/ 117 w 661"/>
                <a:gd name="T75" fmla="*/ 75 h 949"/>
                <a:gd name="T76" fmla="*/ 81 w 661"/>
                <a:gd name="T77" fmla="*/ 115 h 949"/>
                <a:gd name="T78" fmla="*/ 54 w 661"/>
                <a:gd name="T79" fmla="*/ 161 h 949"/>
                <a:gd name="T80" fmla="*/ 33 w 661"/>
                <a:gd name="T81" fmla="*/ 219 h 949"/>
                <a:gd name="T82" fmla="*/ 16 w 661"/>
                <a:gd name="T83" fmla="*/ 284 h 949"/>
                <a:gd name="T84" fmla="*/ 6 w 661"/>
                <a:gd name="T85" fmla="*/ 359 h 949"/>
                <a:gd name="T86" fmla="*/ 2 w 661"/>
                <a:gd name="T87" fmla="*/ 514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1" h="949">
                  <a:moveTo>
                    <a:pt x="2" y="554"/>
                  </a:moveTo>
                  <a:lnTo>
                    <a:pt x="6" y="591"/>
                  </a:lnTo>
                  <a:lnTo>
                    <a:pt x="10" y="627"/>
                  </a:lnTo>
                  <a:lnTo>
                    <a:pt x="14" y="660"/>
                  </a:lnTo>
                  <a:lnTo>
                    <a:pt x="21" y="692"/>
                  </a:lnTo>
                  <a:lnTo>
                    <a:pt x="29" y="721"/>
                  </a:lnTo>
                  <a:lnTo>
                    <a:pt x="37" y="750"/>
                  </a:lnTo>
                  <a:lnTo>
                    <a:pt x="181" y="750"/>
                  </a:lnTo>
                  <a:lnTo>
                    <a:pt x="185" y="740"/>
                  </a:lnTo>
                  <a:lnTo>
                    <a:pt x="190" y="729"/>
                  </a:lnTo>
                  <a:lnTo>
                    <a:pt x="204" y="717"/>
                  </a:lnTo>
                  <a:lnTo>
                    <a:pt x="215" y="710"/>
                  </a:lnTo>
                  <a:lnTo>
                    <a:pt x="225" y="706"/>
                  </a:lnTo>
                  <a:lnTo>
                    <a:pt x="235" y="704"/>
                  </a:lnTo>
                  <a:lnTo>
                    <a:pt x="327" y="704"/>
                  </a:lnTo>
                  <a:lnTo>
                    <a:pt x="342" y="704"/>
                  </a:lnTo>
                  <a:lnTo>
                    <a:pt x="354" y="708"/>
                  </a:lnTo>
                  <a:lnTo>
                    <a:pt x="365" y="715"/>
                  </a:lnTo>
                  <a:lnTo>
                    <a:pt x="375" y="723"/>
                  </a:lnTo>
                  <a:lnTo>
                    <a:pt x="384" y="733"/>
                  </a:lnTo>
                  <a:lnTo>
                    <a:pt x="390" y="744"/>
                  </a:lnTo>
                  <a:lnTo>
                    <a:pt x="394" y="756"/>
                  </a:lnTo>
                  <a:lnTo>
                    <a:pt x="394" y="771"/>
                  </a:lnTo>
                  <a:lnTo>
                    <a:pt x="394" y="781"/>
                  </a:lnTo>
                  <a:lnTo>
                    <a:pt x="394" y="794"/>
                  </a:lnTo>
                  <a:lnTo>
                    <a:pt x="390" y="809"/>
                  </a:lnTo>
                  <a:lnTo>
                    <a:pt x="384" y="819"/>
                  </a:lnTo>
                  <a:lnTo>
                    <a:pt x="375" y="829"/>
                  </a:lnTo>
                  <a:lnTo>
                    <a:pt x="365" y="838"/>
                  </a:lnTo>
                  <a:lnTo>
                    <a:pt x="354" y="844"/>
                  </a:lnTo>
                  <a:lnTo>
                    <a:pt x="342" y="848"/>
                  </a:lnTo>
                  <a:lnTo>
                    <a:pt x="327" y="848"/>
                  </a:lnTo>
                  <a:lnTo>
                    <a:pt x="246" y="848"/>
                  </a:lnTo>
                  <a:lnTo>
                    <a:pt x="235" y="848"/>
                  </a:lnTo>
                  <a:lnTo>
                    <a:pt x="225" y="844"/>
                  </a:lnTo>
                  <a:lnTo>
                    <a:pt x="215" y="840"/>
                  </a:lnTo>
                  <a:lnTo>
                    <a:pt x="204" y="836"/>
                  </a:lnTo>
                  <a:lnTo>
                    <a:pt x="198" y="829"/>
                  </a:lnTo>
                  <a:lnTo>
                    <a:pt x="190" y="821"/>
                  </a:lnTo>
                  <a:lnTo>
                    <a:pt x="185" y="813"/>
                  </a:lnTo>
                  <a:lnTo>
                    <a:pt x="181" y="802"/>
                  </a:lnTo>
                  <a:lnTo>
                    <a:pt x="62" y="802"/>
                  </a:lnTo>
                  <a:lnTo>
                    <a:pt x="71" y="821"/>
                  </a:lnTo>
                  <a:lnTo>
                    <a:pt x="81" y="838"/>
                  </a:lnTo>
                  <a:lnTo>
                    <a:pt x="94" y="852"/>
                  </a:lnTo>
                  <a:lnTo>
                    <a:pt x="121" y="880"/>
                  </a:lnTo>
                  <a:lnTo>
                    <a:pt x="137" y="892"/>
                  </a:lnTo>
                  <a:lnTo>
                    <a:pt x="152" y="905"/>
                  </a:lnTo>
                  <a:lnTo>
                    <a:pt x="169" y="913"/>
                  </a:lnTo>
                  <a:lnTo>
                    <a:pt x="187" y="921"/>
                  </a:lnTo>
                  <a:lnTo>
                    <a:pt x="204" y="930"/>
                  </a:lnTo>
                  <a:lnTo>
                    <a:pt x="225" y="936"/>
                  </a:lnTo>
                  <a:lnTo>
                    <a:pt x="244" y="940"/>
                  </a:lnTo>
                  <a:lnTo>
                    <a:pt x="267" y="944"/>
                  </a:lnTo>
                  <a:lnTo>
                    <a:pt x="311" y="949"/>
                  </a:lnTo>
                  <a:lnTo>
                    <a:pt x="356" y="949"/>
                  </a:lnTo>
                  <a:lnTo>
                    <a:pt x="377" y="949"/>
                  </a:lnTo>
                  <a:lnTo>
                    <a:pt x="396" y="946"/>
                  </a:lnTo>
                  <a:lnTo>
                    <a:pt x="415" y="944"/>
                  </a:lnTo>
                  <a:lnTo>
                    <a:pt x="434" y="940"/>
                  </a:lnTo>
                  <a:lnTo>
                    <a:pt x="452" y="934"/>
                  </a:lnTo>
                  <a:lnTo>
                    <a:pt x="467" y="928"/>
                  </a:lnTo>
                  <a:lnTo>
                    <a:pt x="484" y="921"/>
                  </a:lnTo>
                  <a:lnTo>
                    <a:pt x="515" y="909"/>
                  </a:lnTo>
                  <a:lnTo>
                    <a:pt x="528" y="898"/>
                  </a:lnTo>
                  <a:lnTo>
                    <a:pt x="540" y="888"/>
                  </a:lnTo>
                  <a:lnTo>
                    <a:pt x="563" y="865"/>
                  </a:lnTo>
                  <a:lnTo>
                    <a:pt x="576" y="852"/>
                  </a:lnTo>
                  <a:lnTo>
                    <a:pt x="586" y="838"/>
                  </a:lnTo>
                  <a:lnTo>
                    <a:pt x="594" y="825"/>
                  </a:lnTo>
                  <a:lnTo>
                    <a:pt x="603" y="809"/>
                  </a:lnTo>
                  <a:lnTo>
                    <a:pt x="619" y="773"/>
                  </a:lnTo>
                  <a:lnTo>
                    <a:pt x="626" y="754"/>
                  </a:lnTo>
                  <a:lnTo>
                    <a:pt x="632" y="733"/>
                  </a:lnTo>
                  <a:lnTo>
                    <a:pt x="638" y="712"/>
                  </a:lnTo>
                  <a:lnTo>
                    <a:pt x="642" y="692"/>
                  </a:lnTo>
                  <a:lnTo>
                    <a:pt x="646" y="666"/>
                  </a:lnTo>
                  <a:lnTo>
                    <a:pt x="651" y="644"/>
                  </a:lnTo>
                  <a:lnTo>
                    <a:pt x="657" y="591"/>
                  </a:lnTo>
                  <a:lnTo>
                    <a:pt x="661" y="535"/>
                  </a:lnTo>
                  <a:lnTo>
                    <a:pt x="661" y="474"/>
                  </a:lnTo>
                  <a:lnTo>
                    <a:pt x="661" y="414"/>
                  </a:lnTo>
                  <a:lnTo>
                    <a:pt x="657" y="357"/>
                  </a:lnTo>
                  <a:lnTo>
                    <a:pt x="651" y="305"/>
                  </a:lnTo>
                  <a:lnTo>
                    <a:pt x="642" y="257"/>
                  </a:lnTo>
                  <a:lnTo>
                    <a:pt x="638" y="236"/>
                  </a:lnTo>
                  <a:lnTo>
                    <a:pt x="632" y="215"/>
                  </a:lnTo>
                  <a:lnTo>
                    <a:pt x="626" y="196"/>
                  </a:lnTo>
                  <a:lnTo>
                    <a:pt x="619" y="175"/>
                  </a:lnTo>
                  <a:lnTo>
                    <a:pt x="603" y="142"/>
                  </a:lnTo>
                  <a:lnTo>
                    <a:pt x="594" y="125"/>
                  </a:lnTo>
                  <a:lnTo>
                    <a:pt x="586" y="111"/>
                  </a:lnTo>
                  <a:lnTo>
                    <a:pt x="576" y="98"/>
                  </a:lnTo>
                  <a:lnTo>
                    <a:pt x="563" y="84"/>
                  </a:lnTo>
                  <a:lnTo>
                    <a:pt x="528" y="50"/>
                  </a:lnTo>
                  <a:lnTo>
                    <a:pt x="515" y="42"/>
                  </a:lnTo>
                  <a:lnTo>
                    <a:pt x="498" y="33"/>
                  </a:lnTo>
                  <a:lnTo>
                    <a:pt x="484" y="27"/>
                  </a:lnTo>
                  <a:lnTo>
                    <a:pt x="467" y="19"/>
                  </a:lnTo>
                  <a:lnTo>
                    <a:pt x="434" y="10"/>
                  </a:lnTo>
                  <a:lnTo>
                    <a:pt x="415" y="6"/>
                  </a:lnTo>
                  <a:lnTo>
                    <a:pt x="396" y="2"/>
                  </a:lnTo>
                  <a:lnTo>
                    <a:pt x="377" y="2"/>
                  </a:lnTo>
                  <a:lnTo>
                    <a:pt x="356" y="0"/>
                  </a:lnTo>
                  <a:lnTo>
                    <a:pt x="315" y="0"/>
                  </a:lnTo>
                  <a:lnTo>
                    <a:pt x="294" y="2"/>
                  </a:lnTo>
                  <a:lnTo>
                    <a:pt x="254" y="6"/>
                  </a:lnTo>
                  <a:lnTo>
                    <a:pt x="235" y="10"/>
                  </a:lnTo>
                  <a:lnTo>
                    <a:pt x="202" y="21"/>
                  </a:lnTo>
                  <a:lnTo>
                    <a:pt x="169" y="35"/>
                  </a:lnTo>
                  <a:lnTo>
                    <a:pt x="154" y="44"/>
                  </a:lnTo>
                  <a:lnTo>
                    <a:pt x="142" y="52"/>
                  </a:lnTo>
                  <a:lnTo>
                    <a:pt x="129" y="63"/>
                  </a:lnTo>
                  <a:lnTo>
                    <a:pt x="117" y="75"/>
                  </a:lnTo>
                  <a:lnTo>
                    <a:pt x="104" y="88"/>
                  </a:lnTo>
                  <a:lnTo>
                    <a:pt x="94" y="100"/>
                  </a:lnTo>
                  <a:lnTo>
                    <a:pt x="81" y="115"/>
                  </a:lnTo>
                  <a:lnTo>
                    <a:pt x="71" y="130"/>
                  </a:lnTo>
                  <a:lnTo>
                    <a:pt x="62" y="144"/>
                  </a:lnTo>
                  <a:lnTo>
                    <a:pt x="54" y="161"/>
                  </a:lnTo>
                  <a:lnTo>
                    <a:pt x="46" y="180"/>
                  </a:lnTo>
                  <a:lnTo>
                    <a:pt x="37" y="198"/>
                  </a:lnTo>
                  <a:lnTo>
                    <a:pt x="33" y="219"/>
                  </a:lnTo>
                  <a:lnTo>
                    <a:pt x="25" y="240"/>
                  </a:lnTo>
                  <a:lnTo>
                    <a:pt x="21" y="261"/>
                  </a:lnTo>
                  <a:lnTo>
                    <a:pt x="16" y="284"/>
                  </a:lnTo>
                  <a:lnTo>
                    <a:pt x="10" y="309"/>
                  </a:lnTo>
                  <a:lnTo>
                    <a:pt x="8" y="332"/>
                  </a:lnTo>
                  <a:lnTo>
                    <a:pt x="6" y="359"/>
                  </a:lnTo>
                  <a:lnTo>
                    <a:pt x="2" y="416"/>
                  </a:lnTo>
                  <a:lnTo>
                    <a:pt x="0" y="474"/>
                  </a:lnTo>
                  <a:lnTo>
                    <a:pt x="2" y="514"/>
                  </a:lnTo>
                  <a:lnTo>
                    <a:pt x="2" y="554"/>
                  </a:lnTo>
                  <a:close/>
                </a:path>
              </a:pathLst>
            </a:custGeom>
            <a:grpFill/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D6501F48-BE33-4747-89F9-473A32E3E7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5" y="1138"/>
              <a:ext cx="1183" cy="1164"/>
            </a:xfrm>
            <a:custGeom>
              <a:avLst/>
              <a:gdLst>
                <a:gd name="T0" fmla="*/ 1108 w 1183"/>
                <a:gd name="T1" fmla="*/ 456 h 1164"/>
                <a:gd name="T2" fmla="*/ 1018 w 1183"/>
                <a:gd name="T3" fmla="*/ 309 h 1164"/>
                <a:gd name="T4" fmla="*/ 933 w 1183"/>
                <a:gd name="T5" fmla="*/ 140 h 1164"/>
                <a:gd name="T6" fmla="*/ 757 w 1183"/>
                <a:gd name="T7" fmla="*/ 21 h 1164"/>
                <a:gd name="T8" fmla="*/ 547 w 1183"/>
                <a:gd name="T9" fmla="*/ 0 h 1164"/>
                <a:gd name="T10" fmla="*/ 378 w 1183"/>
                <a:gd name="T11" fmla="*/ 46 h 1164"/>
                <a:gd name="T12" fmla="*/ 242 w 1183"/>
                <a:gd name="T13" fmla="*/ 159 h 1164"/>
                <a:gd name="T14" fmla="*/ 154 w 1183"/>
                <a:gd name="T15" fmla="*/ 366 h 1164"/>
                <a:gd name="T16" fmla="*/ 52 w 1183"/>
                <a:gd name="T17" fmla="*/ 479 h 1164"/>
                <a:gd name="T18" fmla="*/ 0 w 1183"/>
                <a:gd name="T19" fmla="*/ 612 h 1164"/>
                <a:gd name="T20" fmla="*/ 44 w 1183"/>
                <a:gd name="T21" fmla="*/ 775 h 1164"/>
                <a:gd name="T22" fmla="*/ 104 w 1183"/>
                <a:gd name="T23" fmla="*/ 853 h 1164"/>
                <a:gd name="T24" fmla="*/ 158 w 1183"/>
                <a:gd name="T25" fmla="*/ 942 h 1164"/>
                <a:gd name="T26" fmla="*/ 284 w 1183"/>
                <a:gd name="T27" fmla="*/ 1005 h 1164"/>
                <a:gd name="T28" fmla="*/ 421 w 1183"/>
                <a:gd name="T29" fmla="*/ 1130 h 1164"/>
                <a:gd name="T30" fmla="*/ 655 w 1183"/>
                <a:gd name="T31" fmla="*/ 1160 h 1164"/>
                <a:gd name="T32" fmla="*/ 849 w 1183"/>
                <a:gd name="T33" fmla="*/ 1076 h 1164"/>
                <a:gd name="T34" fmla="*/ 943 w 1183"/>
                <a:gd name="T35" fmla="*/ 911 h 1164"/>
                <a:gd name="T36" fmla="*/ 970 w 1183"/>
                <a:gd name="T37" fmla="*/ 495 h 1164"/>
                <a:gd name="T38" fmla="*/ 912 w 1183"/>
                <a:gd name="T39" fmla="*/ 278 h 1164"/>
                <a:gd name="T40" fmla="*/ 776 w 1183"/>
                <a:gd name="T41" fmla="*/ 144 h 1164"/>
                <a:gd name="T42" fmla="*/ 534 w 1183"/>
                <a:gd name="T43" fmla="*/ 111 h 1164"/>
                <a:gd name="T44" fmla="*/ 352 w 1183"/>
                <a:gd name="T45" fmla="*/ 184 h 1164"/>
                <a:gd name="T46" fmla="*/ 240 w 1183"/>
                <a:gd name="T47" fmla="*/ 370 h 1164"/>
                <a:gd name="T48" fmla="*/ 208 w 1183"/>
                <a:gd name="T49" fmla="*/ 704 h 1164"/>
                <a:gd name="T50" fmla="*/ 202 w 1183"/>
                <a:gd name="T51" fmla="*/ 907 h 1164"/>
                <a:gd name="T52" fmla="*/ 156 w 1183"/>
                <a:gd name="T53" fmla="*/ 846 h 1164"/>
                <a:gd name="T54" fmla="*/ 221 w 1183"/>
                <a:gd name="T55" fmla="*/ 322 h 1164"/>
                <a:gd name="T56" fmla="*/ 327 w 1183"/>
                <a:gd name="T57" fmla="*/ 142 h 1164"/>
                <a:gd name="T58" fmla="*/ 511 w 1183"/>
                <a:gd name="T59" fmla="*/ 59 h 1164"/>
                <a:gd name="T60" fmla="*/ 720 w 1183"/>
                <a:gd name="T61" fmla="*/ 67 h 1164"/>
                <a:gd name="T62" fmla="*/ 876 w 1183"/>
                <a:gd name="T63" fmla="*/ 155 h 1164"/>
                <a:gd name="T64" fmla="*/ 966 w 1183"/>
                <a:gd name="T65" fmla="*/ 322 h 1164"/>
                <a:gd name="T66" fmla="*/ 1062 w 1183"/>
                <a:gd name="T67" fmla="*/ 838 h 1164"/>
                <a:gd name="T68" fmla="*/ 1162 w 1183"/>
                <a:gd name="T69" fmla="*/ 736 h 1164"/>
                <a:gd name="T70" fmla="*/ 1177 w 1183"/>
                <a:gd name="T71" fmla="*/ 575 h 1164"/>
                <a:gd name="T72" fmla="*/ 79 w 1183"/>
                <a:gd name="T73" fmla="*/ 733 h 1164"/>
                <a:gd name="T74" fmla="*/ 52 w 1183"/>
                <a:gd name="T75" fmla="*/ 621 h 1164"/>
                <a:gd name="T76" fmla="*/ 87 w 1183"/>
                <a:gd name="T77" fmla="*/ 522 h 1164"/>
                <a:gd name="T78" fmla="*/ 267 w 1183"/>
                <a:gd name="T79" fmla="*/ 520 h 1164"/>
                <a:gd name="T80" fmla="*/ 307 w 1183"/>
                <a:gd name="T81" fmla="*/ 341 h 1164"/>
                <a:gd name="T82" fmla="*/ 390 w 1183"/>
                <a:gd name="T83" fmla="*/ 224 h 1164"/>
                <a:gd name="T84" fmla="*/ 576 w 1183"/>
                <a:gd name="T85" fmla="*/ 161 h 1164"/>
                <a:gd name="T86" fmla="*/ 759 w 1183"/>
                <a:gd name="T87" fmla="*/ 194 h 1164"/>
                <a:gd name="T88" fmla="*/ 880 w 1183"/>
                <a:gd name="T89" fmla="*/ 336 h 1164"/>
                <a:gd name="T90" fmla="*/ 922 w 1183"/>
                <a:gd name="T91" fmla="*/ 635 h 1164"/>
                <a:gd name="T92" fmla="*/ 887 w 1183"/>
                <a:gd name="T93" fmla="*/ 915 h 1164"/>
                <a:gd name="T94" fmla="*/ 789 w 1183"/>
                <a:gd name="T95" fmla="*/ 1059 h 1164"/>
                <a:gd name="T96" fmla="*/ 638 w 1183"/>
                <a:gd name="T97" fmla="*/ 1110 h 1164"/>
                <a:gd name="T98" fmla="*/ 430 w 1183"/>
                <a:gd name="T99" fmla="*/ 1074 h 1164"/>
                <a:gd name="T100" fmla="*/ 442 w 1183"/>
                <a:gd name="T101" fmla="*/ 963 h 1164"/>
                <a:gd name="T102" fmla="*/ 507 w 1183"/>
                <a:gd name="T103" fmla="*/ 1009 h 1164"/>
                <a:gd name="T104" fmla="*/ 655 w 1183"/>
                <a:gd name="T105" fmla="*/ 955 h 1164"/>
                <a:gd name="T106" fmla="*/ 615 w 1183"/>
                <a:gd name="T107" fmla="*/ 869 h 1164"/>
                <a:gd name="T108" fmla="*/ 446 w 1183"/>
                <a:gd name="T109" fmla="*/ 901 h 1164"/>
                <a:gd name="T110" fmla="*/ 263 w 1183"/>
                <a:gd name="T111" fmla="*/ 715 h 1164"/>
                <a:gd name="T112" fmla="*/ 1118 w 1183"/>
                <a:gd name="T113" fmla="*/ 700 h 1164"/>
                <a:gd name="T114" fmla="*/ 1056 w 1183"/>
                <a:gd name="T115" fmla="*/ 782 h 1164"/>
                <a:gd name="T116" fmla="*/ 1097 w 1183"/>
                <a:gd name="T117" fmla="*/ 522 h 1164"/>
                <a:gd name="T118" fmla="*/ 1131 w 1183"/>
                <a:gd name="T119" fmla="*/ 621 h 1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3" h="1164">
                  <a:moveTo>
                    <a:pt x="1177" y="575"/>
                  </a:moveTo>
                  <a:lnTo>
                    <a:pt x="1172" y="558"/>
                  </a:lnTo>
                  <a:lnTo>
                    <a:pt x="1166" y="539"/>
                  </a:lnTo>
                  <a:lnTo>
                    <a:pt x="1158" y="525"/>
                  </a:lnTo>
                  <a:lnTo>
                    <a:pt x="1150" y="508"/>
                  </a:lnTo>
                  <a:lnTo>
                    <a:pt x="1141" y="493"/>
                  </a:lnTo>
                  <a:lnTo>
                    <a:pt x="1118" y="466"/>
                  </a:lnTo>
                  <a:lnTo>
                    <a:pt x="1108" y="456"/>
                  </a:lnTo>
                  <a:lnTo>
                    <a:pt x="1093" y="445"/>
                  </a:lnTo>
                  <a:lnTo>
                    <a:pt x="1066" y="430"/>
                  </a:lnTo>
                  <a:lnTo>
                    <a:pt x="1051" y="426"/>
                  </a:lnTo>
                  <a:lnTo>
                    <a:pt x="1035" y="422"/>
                  </a:lnTo>
                  <a:lnTo>
                    <a:pt x="1033" y="397"/>
                  </a:lnTo>
                  <a:lnTo>
                    <a:pt x="1028" y="366"/>
                  </a:lnTo>
                  <a:lnTo>
                    <a:pt x="1022" y="330"/>
                  </a:lnTo>
                  <a:lnTo>
                    <a:pt x="1018" y="309"/>
                  </a:lnTo>
                  <a:lnTo>
                    <a:pt x="1012" y="288"/>
                  </a:lnTo>
                  <a:lnTo>
                    <a:pt x="1003" y="268"/>
                  </a:lnTo>
                  <a:lnTo>
                    <a:pt x="995" y="247"/>
                  </a:lnTo>
                  <a:lnTo>
                    <a:pt x="987" y="224"/>
                  </a:lnTo>
                  <a:lnTo>
                    <a:pt x="976" y="203"/>
                  </a:lnTo>
                  <a:lnTo>
                    <a:pt x="962" y="180"/>
                  </a:lnTo>
                  <a:lnTo>
                    <a:pt x="947" y="159"/>
                  </a:lnTo>
                  <a:lnTo>
                    <a:pt x="933" y="140"/>
                  </a:lnTo>
                  <a:lnTo>
                    <a:pt x="914" y="119"/>
                  </a:lnTo>
                  <a:lnTo>
                    <a:pt x="899" y="105"/>
                  </a:lnTo>
                  <a:lnTo>
                    <a:pt x="885" y="92"/>
                  </a:lnTo>
                  <a:lnTo>
                    <a:pt x="851" y="67"/>
                  </a:lnTo>
                  <a:lnTo>
                    <a:pt x="814" y="46"/>
                  </a:lnTo>
                  <a:lnTo>
                    <a:pt x="797" y="38"/>
                  </a:lnTo>
                  <a:lnTo>
                    <a:pt x="776" y="29"/>
                  </a:lnTo>
                  <a:lnTo>
                    <a:pt x="757" y="21"/>
                  </a:lnTo>
                  <a:lnTo>
                    <a:pt x="736" y="17"/>
                  </a:lnTo>
                  <a:lnTo>
                    <a:pt x="713" y="11"/>
                  </a:lnTo>
                  <a:lnTo>
                    <a:pt x="690" y="8"/>
                  </a:lnTo>
                  <a:lnTo>
                    <a:pt x="668" y="4"/>
                  </a:lnTo>
                  <a:lnTo>
                    <a:pt x="645" y="0"/>
                  </a:lnTo>
                  <a:lnTo>
                    <a:pt x="620" y="0"/>
                  </a:lnTo>
                  <a:lnTo>
                    <a:pt x="572" y="0"/>
                  </a:lnTo>
                  <a:lnTo>
                    <a:pt x="547" y="0"/>
                  </a:lnTo>
                  <a:lnTo>
                    <a:pt x="524" y="4"/>
                  </a:lnTo>
                  <a:lnTo>
                    <a:pt x="499" y="8"/>
                  </a:lnTo>
                  <a:lnTo>
                    <a:pt x="478" y="11"/>
                  </a:lnTo>
                  <a:lnTo>
                    <a:pt x="457" y="17"/>
                  </a:lnTo>
                  <a:lnTo>
                    <a:pt x="436" y="21"/>
                  </a:lnTo>
                  <a:lnTo>
                    <a:pt x="415" y="29"/>
                  </a:lnTo>
                  <a:lnTo>
                    <a:pt x="394" y="36"/>
                  </a:lnTo>
                  <a:lnTo>
                    <a:pt x="378" y="46"/>
                  </a:lnTo>
                  <a:lnTo>
                    <a:pt x="359" y="56"/>
                  </a:lnTo>
                  <a:lnTo>
                    <a:pt x="340" y="67"/>
                  </a:lnTo>
                  <a:lnTo>
                    <a:pt x="323" y="79"/>
                  </a:lnTo>
                  <a:lnTo>
                    <a:pt x="307" y="92"/>
                  </a:lnTo>
                  <a:lnTo>
                    <a:pt x="292" y="105"/>
                  </a:lnTo>
                  <a:lnTo>
                    <a:pt x="275" y="117"/>
                  </a:lnTo>
                  <a:lnTo>
                    <a:pt x="259" y="138"/>
                  </a:lnTo>
                  <a:lnTo>
                    <a:pt x="242" y="159"/>
                  </a:lnTo>
                  <a:lnTo>
                    <a:pt x="227" y="180"/>
                  </a:lnTo>
                  <a:lnTo>
                    <a:pt x="213" y="201"/>
                  </a:lnTo>
                  <a:lnTo>
                    <a:pt x="192" y="247"/>
                  </a:lnTo>
                  <a:lnTo>
                    <a:pt x="183" y="268"/>
                  </a:lnTo>
                  <a:lnTo>
                    <a:pt x="175" y="288"/>
                  </a:lnTo>
                  <a:lnTo>
                    <a:pt x="169" y="309"/>
                  </a:lnTo>
                  <a:lnTo>
                    <a:pt x="163" y="328"/>
                  </a:lnTo>
                  <a:lnTo>
                    <a:pt x="154" y="366"/>
                  </a:lnTo>
                  <a:lnTo>
                    <a:pt x="150" y="397"/>
                  </a:lnTo>
                  <a:lnTo>
                    <a:pt x="150" y="422"/>
                  </a:lnTo>
                  <a:lnTo>
                    <a:pt x="133" y="426"/>
                  </a:lnTo>
                  <a:lnTo>
                    <a:pt x="104" y="437"/>
                  </a:lnTo>
                  <a:lnTo>
                    <a:pt x="90" y="445"/>
                  </a:lnTo>
                  <a:lnTo>
                    <a:pt x="77" y="456"/>
                  </a:lnTo>
                  <a:lnTo>
                    <a:pt x="65" y="466"/>
                  </a:lnTo>
                  <a:lnTo>
                    <a:pt x="52" y="479"/>
                  </a:lnTo>
                  <a:lnTo>
                    <a:pt x="44" y="493"/>
                  </a:lnTo>
                  <a:lnTo>
                    <a:pt x="33" y="508"/>
                  </a:lnTo>
                  <a:lnTo>
                    <a:pt x="25" y="525"/>
                  </a:lnTo>
                  <a:lnTo>
                    <a:pt x="17" y="539"/>
                  </a:lnTo>
                  <a:lnTo>
                    <a:pt x="12" y="556"/>
                  </a:lnTo>
                  <a:lnTo>
                    <a:pt x="6" y="575"/>
                  </a:lnTo>
                  <a:lnTo>
                    <a:pt x="4" y="593"/>
                  </a:lnTo>
                  <a:lnTo>
                    <a:pt x="0" y="612"/>
                  </a:lnTo>
                  <a:lnTo>
                    <a:pt x="0" y="648"/>
                  </a:lnTo>
                  <a:lnTo>
                    <a:pt x="2" y="665"/>
                  </a:lnTo>
                  <a:lnTo>
                    <a:pt x="4" y="681"/>
                  </a:lnTo>
                  <a:lnTo>
                    <a:pt x="12" y="710"/>
                  </a:lnTo>
                  <a:lnTo>
                    <a:pt x="17" y="723"/>
                  </a:lnTo>
                  <a:lnTo>
                    <a:pt x="27" y="752"/>
                  </a:lnTo>
                  <a:lnTo>
                    <a:pt x="35" y="763"/>
                  </a:lnTo>
                  <a:lnTo>
                    <a:pt x="44" y="775"/>
                  </a:lnTo>
                  <a:lnTo>
                    <a:pt x="52" y="786"/>
                  </a:lnTo>
                  <a:lnTo>
                    <a:pt x="62" y="796"/>
                  </a:lnTo>
                  <a:lnTo>
                    <a:pt x="71" y="805"/>
                  </a:lnTo>
                  <a:lnTo>
                    <a:pt x="81" y="815"/>
                  </a:lnTo>
                  <a:lnTo>
                    <a:pt x="92" y="821"/>
                  </a:lnTo>
                  <a:lnTo>
                    <a:pt x="102" y="827"/>
                  </a:lnTo>
                  <a:lnTo>
                    <a:pt x="102" y="840"/>
                  </a:lnTo>
                  <a:lnTo>
                    <a:pt x="104" y="853"/>
                  </a:lnTo>
                  <a:lnTo>
                    <a:pt x="104" y="863"/>
                  </a:lnTo>
                  <a:lnTo>
                    <a:pt x="106" y="873"/>
                  </a:lnTo>
                  <a:lnTo>
                    <a:pt x="110" y="886"/>
                  </a:lnTo>
                  <a:lnTo>
                    <a:pt x="117" y="901"/>
                  </a:lnTo>
                  <a:lnTo>
                    <a:pt x="125" y="913"/>
                  </a:lnTo>
                  <a:lnTo>
                    <a:pt x="138" y="926"/>
                  </a:lnTo>
                  <a:lnTo>
                    <a:pt x="146" y="936"/>
                  </a:lnTo>
                  <a:lnTo>
                    <a:pt x="158" y="942"/>
                  </a:lnTo>
                  <a:lnTo>
                    <a:pt x="167" y="949"/>
                  </a:lnTo>
                  <a:lnTo>
                    <a:pt x="179" y="955"/>
                  </a:lnTo>
                  <a:lnTo>
                    <a:pt x="192" y="957"/>
                  </a:lnTo>
                  <a:lnTo>
                    <a:pt x="206" y="961"/>
                  </a:lnTo>
                  <a:lnTo>
                    <a:pt x="221" y="963"/>
                  </a:lnTo>
                  <a:lnTo>
                    <a:pt x="263" y="963"/>
                  </a:lnTo>
                  <a:lnTo>
                    <a:pt x="271" y="986"/>
                  </a:lnTo>
                  <a:lnTo>
                    <a:pt x="284" y="1005"/>
                  </a:lnTo>
                  <a:lnTo>
                    <a:pt x="294" y="1024"/>
                  </a:lnTo>
                  <a:lnTo>
                    <a:pt x="311" y="1043"/>
                  </a:lnTo>
                  <a:lnTo>
                    <a:pt x="325" y="1059"/>
                  </a:lnTo>
                  <a:lnTo>
                    <a:pt x="342" y="1076"/>
                  </a:lnTo>
                  <a:lnTo>
                    <a:pt x="359" y="1093"/>
                  </a:lnTo>
                  <a:lnTo>
                    <a:pt x="378" y="1107"/>
                  </a:lnTo>
                  <a:lnTo>
                    <a:pt x="400" y="1120"/>
                  </a:lnTo>
                  <a:lnTo>
                    <a:pt x="421" y="1130"/>
                  </a:lnTo>
                  <a:lnTo>
                    <a:pt x="446" y="1141"/>
                  </a:lnTo>
                  <a:lnTo>
                    <a:pt x="473" y="1149"/>
                  </a:lnTo>
                  <a:lnTo>
                    <a:pt x="501" y="1156"/>
                  </a:lnTo>
                  <a:lnTo>
                    <a:pt x="532" y="1160"/>
                  </a:lnTo>
                  <a:lnTo>
                    <a:pt x="563" y="1162"/>
                  </a:lnTo>
                  <a:lnTo>
                    <a:pt x="597" y="1164"/>
                  </a:lnTo>
                  <a:lnTo>
                    <a:pt x="628" y="1164"/>
                  </a:lnTo>
                  <a:lnTo>
                    <a:pt x="655" y="1160"/>
                  </a:lnTo>
                  <a:lnTo>
                    <a:pt x="684" y="1156"/>
                  </a:lnTo>
                  <a:lnTo>
                    <a:pt x="709" y="1151"/>
                  </a:lnTo>
                  <a:lnTo>
                    <a:pt x="757" y="1137"/>
                  </a:lnTo>
                  <a:lnTo>
                    <a:pt x="776" y="1126"/>
                  </a:lnTo>
                  <a:lnTo>
                    <a:pt x="797" y="1116"/>
                  </a:lnTo>
                  <a:lnTo>
                    <a:pt x="816" y="1103"/>
                  </a:lnTo>
                  <a:lnTo>
                    <a:pt x="832" y="1091"/>
                  </a:lnTo>
                  <a:lnTo>
                    <a:pt x="849" y="1076"/>
                  </a:lnTo>
                  <a:lnTo>
                    <a:pt x="864" y="1062"/>
                  </a:lnTo>
                  <a:lnTo>
                    <a:pt x="876" y="1045"/>
                  </a:lnTo>
                  <a:lnTo>
                    <a:pt x="901" y="1011"/>
                  </a:lnTo>
                  <a:lnTo>
                    <a:pt x="912" y="990"/>
                  </a:lnTo>
                  <a:lnTo>
                    <a:pt x="922" y="974"/>
                  </a:lnTo>
                  <a:lnTo>
                    <a:pt x="930" y="951"/>
                  </a:lnTo>
                  <a:lnTo>
                    <a:pt x="937" y="932"/>
                  </a:lnTo>
                  <a:lnTo>
                    <a:pt x="943" y="911"/>
                  </a:lnTo>
                  <a:lnTo>
                    <a:pt x="949" y="888"/>
                  </a:lnTo>
                  <a:lnTo>
                    <a:pt x="955" y="867"/>
                  </a:lnTo>
                  <a:lnTo>
                    <a:pt x="964" y="821"/>
                  </a:lnTo>
                  <a:lnTo>
                    <a:pt x="970" y="775"/>
                  </a:lnTo>
                  <a:lnTo>
                    <a:pt x="972" y="729"/>
                  </a:lnTo>
                  <a:lnTo>
                    <a:pt x="976" y="635"/>
                  </a:lnTo>
                  <a:lnTo>
                    <a:pt x="972" y="541"/>
                  </a:lnTo>
                  <a:lnTo>
                    <a:pt x="970" y="495"/>
                  </a:lnTo>
                  <a:lnTo>
                    <a:pt x="964" y="449"/>
                  </a:lnTo>
                  <a:lnTo>
                    <a:pt x="955" y="405"/>
                  </a:lnTo>
                  <a:lnTo>
                    <a:pt x="949" y="382"/>
                  </a:lnTo>
                  <a:lnTo>
                    <a:pt x="943" y="359"/>
                  </a:lnTo>
                  <a:lnTo>
                    <a:pt x="937" y="339"/>
                  </a:lnTo>
                  <a:lnTo>
                    <a:pt x="930" y="318"/>
                  </a:lnTo>
                  <a:lnTo>
                    <a:pt x="922" y="299"/>
                  </a:lnTo>
                  <a:lnTo>
                    <a:pt x="912" y="278"/>
                  </a:lnTo>
                  <a:lnTo>
                    <a:pt x="901" y="261"/>
                  </a:lnTo>
                  <a:lnTo>
                    <a:pt x="876" y="226"/>
                  </a:lnTo>
                  <a:lnTo>
                    <a:pt x="864" y="211"/>
                  </a:lnTo>
                  <a:lnTo>
                    <a:pt x="849" y="194"/>
                  </a:lnTo>
                  <a:lnTo>
                    <a:pt x="832" y="180"/>
                  </a:lnTo>
                  <a:lnTo>
                    <a:pt x="816" y="167"/>
                  </a:lnTo>
                  <a:lnTo>
                    <a:pt x="797" y="155"/>
                  </a:lnTo>
                  <a:lnTo>
                    <a:pt x="776" y="144"/>
                  </a:lnTo>
                  <a:lnTo>
                    <a:pt x="757" y="136"/>
                  </a:lnTo>
                  <a:lnTo>
                    <a:pt x="732" y="128"/>
                  </a:lnTo>
                  <a:lnTo>
                    <a:pt x="709" y="119"/>
                  </a:lnTo>
                  <a:lnTo>
                    <a:pt x="684" y="115"/>
                  </a:lnTo>
                  <a:lnTo>
                    <a:pt x="655" y="111"/>
                  </a:lnTo>
                  <a:lnTo>
                    <a:pt x="628" y="109"/>
                  </a:lnTo>
                  <a:lnTo>
                    <a:pt x="565" y="109"/>
                  </a:lnTo>
                  <a:lnTo>
                    <a:pt x="534" y="111"/>
                  </a:lnTo>
                  <a:lnTo>
                    <a:pt x="507" y="115"/>
                  </a:lnTo>
                  <a:lnTo>
                    <a:pt x="480" y="119"/>
                  </a:lnTo>
                  <a:lnTo>
                    <a:pt x="455" y="128"/>
                  </a:lnTo>
                  <a:lnTo>
                    <a:pt x="432" y="136"/>
                  </a:lnTo>
                  <a:lnTo>
                    <a:pt x="409" y="146"/>
                  </a:lnTo>
                  <a:lnTo>
                    <a:pt x="390" y="159"/>
                  </a:lnTo>
                  <a:lnTo>
                    <a:pt x="369" y="171"/>
                  </a:lnTo>
                  <a:lnTo>
                    <a:pt x="352" y="184"/>
                  </a:lnTo>
                  <a:lnTo>
                    <a:pt x="336" y="199"/>
                  </a:lnTo>
                  <a:lnTo>
                    <a:pt x="307" y="230"/>
                  </a:lnTo>
                  <a:lnTo>
                    <a:pt x="294" y="249"/>
                  </a:lnTo>
                  <a:lnTo>
                    <a:pt x="271" y="286"/>
                  </a:lnTo>
                  <a:lnTo>
                    <a:pt x="263" y="305"/>
                  </a:lnTo>
                  <a:lnTo>
                    <a:pt x="254" y="326"/>
                  </a:lnTo>
                  <a:lnTo>
                    <a:pt x="246" y="347"/>
                  </a:lnTo>
                  <a:lnTo>
                    <a:pt x="240" y="370"/>
                  </a:lnTo>
                  <a:lnTo>
                    <a:pt x="227" y="414"/>
                  </a:lnTo>
                  <a:lnTo>
                    <a:pt x="221" y="458"/>
                  </a:lnTo>
                  <a:lnTo>
                    <a:pt x="215" y="504"/>
                  </a:lnTo>
                  <a:lnTo>
                    <a:pt x="211" y="548"/>
                  </a:lnTo>
                  <a:lnTo>
                    <a:pt x="208" y="593"/>
                  </a:lnTo>
                  <a:lnTo>
                    <a:pt x="208" y="635"/>
                  </a:lnTo>
                  <a:lnTo>
                    <a:pt x="208" y="669"/>
                  </a:lnTo>
                  <a:lnTo>
                    <a:pt x="208" y="704"/>
                  </a:lnTo>
                  <a:lnTo>
                    <a:pt x="215" y="771"/>
                  </a:lnTo>
                  <a:lnTo>
                    <a:pt x="219" y="807"/>
                  </a:lnTo>
                  <a:lnTo>
                    <a:pt x="225" y="842"/>
                  </a:lnTo>
                  <a:lnTo>
                    <a:pt x="234" y="878"/>
                  </a:lnTo>
                  <a:lnTo>
                    <a:pt x="242" y="911"/>
                  </a:lnTo>
                  <a:lnTo>
                    <a:pt x="223" y="911"/>
                  </a:lnTo>
                  <a:lnTo>
                    <a:pt x="211" y="909"/>
                  </a:lnTo>
                  <a:lnTo>
                    <a:pt x="202" y="907"/>
                  </a:lnTo>
                  <a:lnTo>
                    <a:pt x="188" y="899"/>
                  </a:lnTo>
                  <a:lnTo>
                    <a:pt x="179" y="894"/>
                  </a:lnTo>
                  <a:lnTo>
                    <a:pt x="175" y="890"/>
                  </a:lnTo>
                  <a:lnTo>
                    <a:pt x="171" y="884"/>
                  </a:lnTo>
                  <a:lnTo>
                    <a:pt x="163" y="873"/>
                  </a:lnTo>
                  <a:lnTo>
                    <a:pt x="158" y="863"/>
                  </a:lnTo>
                  <a:lnTo>
                    <a:pt x="156" y="853"/>
                  </a:lnTo>
                  <a:lnTo>
                    <a:pt x="156" y="846"/>
                  </a:lnTo>
                  <a:lnTo>
                    <a:pt x="173" y="846"/>
                  </a:lnTo>
                  <a:lnTo>
                    <a:pt x="200" y="846"/>
                  </a:lnTo>
                  <a:lnTo>
                    <a:pt x="200" y="437"/>
                  </a:lnTo>
                  <a:lnTo>
                    <a:pt x="202" y="418"/>
                  </a:lnTo>
                  <a:lnTo>
                    <a:pt x="206" y="382"/>
                  </a:lnTo>
                  <a:lnTo>
                    <a:pt x="208" y="364"/>
                  </a:lnTo>
                  <a:lnTo>
                    <a:pt x="215" y="343"/>
                  </a:lnTo>
                  <a:lnTo>
                    <a:pt x="221" y="322"/>
                  </a:lnTo>
                  <a:lnTo>
                    <a:pt x="227" y="297"/>
                  </a:lnTo>
                  <a:lnTo>
                    <a:pt x="238" y="274"/>
                  </a:lnTo>
                  <a:lnTo>
                    <a:pt x="248" y="249"/>
                  </a:lnTo>
                  <a:lnTo>
                    <a:pt x="261" y="224"/>
                  </a:lnTo>
                  <a:lnTo>
                    <a:pt x="277" y="201"/>
                  </a:lnTo>
                  <a:lnTo>
                    <a:pt x="294" y="178"/>
                  </a:lnTo>
                  <a:lnTo>
                    <a:pt x="315" y="155"/>
                  </a:lnTo>
                  <a:lnTo>
                    <a:pt x="327" y="142"/>
                  </a:lnTo>
                  <a:lnTo>
                    <a:pt x="355" y="119"/>
                  </a:lnTo>
                  <a:lnTo>
                    <a:pt x="369" y="111"/>
                  </a:lnTo>
                  <a:lnTo>
                    <a:pt x="400" y="92"/>
                  </a:lnTo>
                  <a:lnTo>
                    <a:pt x="436" y="79"/>
                  </a:lnTo>
                  <a:lnTo>
                    <a:pt x="453" y="71"/>
                  </a:lnTo>
                  <a:lnTo>
                    <a:pt x="471" y="67"/>
                  </a:lnTo>
                  <a:lnTo>
                    <a:pt x="490" y="63"/>
                  </a:lnTo>
                  <a:lnTo>
                    <a:pt x="511" y="59"/>
                  </a:lnTo>
                  <a:lnTo>
                    <a:pt x="530" y="56"/>
                  </a:lnTo>
                  <a:lnTo>
                    <a:pt x="551" y="54"/>
                  </a:lnTo>
                  <a:lnTo>
                    <a:pt x="574" y="52"/>
                  </a:lnTo>
                  <a:lnTo>
                    <a:pt x="617" y="52"/>
                  </a:lnTo>
                  <a:lnTo>
                    <a:pt x="638" y="54"/>
                  </a:lnTo>
                  <a:lnTo>
                    <a:pt x="680" y="59"/>
                  </a:lnTo>
                  <a:lnTo>
                    <a:pt x="701" y="63"/>
                  </a:lnTo>
                  <a:lnTo>
                    <a:pt x="720" y="67"/>
                  </a:lnTo>
                  <a:lnTo>
                    <a:pt x="738" y="71"/>
                  </a:lnTo>
                  <a:lnTo>
                    <a:pt x="755" y="79"/>
                  </a:lnTo>
                  <a:lnTo>
                    <a:pt x="789" y="92"/>
                  </a:lnTo>
                  <a:lnTo>
                    <a:pt x="805" y="102"/>
                  </a:lnTo>
                  <a:lnTo>
                    <a:pt x="820" y="111"/>
                  </a:lnTo>
                  <a:lnTo>
                    <a:pt x="837" y="119"/>
                  </a:lnTo>
                  <a:lnTo>
                    <a:pt x="862" y="142"/>
                  </a:lnTo>
                  <a:lnTo>
                    <a:pt x="876" y="155"/>
                  </a:lnTo>
                  <a:lnTo>
                    <a:pt x="893" y="176"/>
                  </a:lnTo>
                  <a:lnTo>
                    <a:pt x="910" y="194"/>
                  </a:lnTo>
                  <a:lnTo>
                    <a:pt x="922" y="215"/>
                  </a:lnTo>
                  <a:lnTo>
                    <a:pt x="933" y="238"/>
                  </a:lnTo>
                  <a:lnTo>
                    <a:pt x="945" y="259"/>
                  </a:lnTo>
                  <a:lnTo>
                    <a:pt x="953" y="282"/>
                  </a:lnTo>
                  <a:lnTo>
                    <a:pt x="960" y="303"/>
                  </a:lnTo>
                  <a:lnTo>
                    <a:pt x="966" y="322"/>
                  </a:lnTo>
                  <a:lnTo>
                    <a:pt x="976" y="362"/>
                  </a:lnTo>
                  <a:lnTo>
                    <a:pt x="981" y="395"/>
                  </a:lnTo>
                  <a:lnTo>
                    <a:pt x="983" y="422"/>
                  </a:lnTo>
                  <a:lnTo>
                    <a:pt x="983" y="846"/>
                  </a:lnTo>
                  <a:lnTo>
                    <a:pt x="1010" y="846"/>
                  </a:lnTo>
                  <a:lnTo>
                    <a:pt x="1026" y="846"/>
                  </a:lnTo>
                  <a:lnTo>
                    <a:pt x="1043" y="842"/>
                  </a:lnTo>
                  <a:lnTo>
                    <a:pt x="1062" y="838"/>
                  </a:lnTo>
                  <a:lnTo>
                    <a:pt x="1079" y="830"/>
                  </a:lnTo>
                  <a:lnTo>
                    <a:pt x="1091" y="821"/>
                  </a:lnTo>
                  <a:lnTo>
                    <a:pt x="1108" y="811"/>
                  </a:lnTo>
                  <a:lnTo>
                    <a:pt x="1120" y="798"/>
                  </a:lnTo>
                  <a:lnTo>
                    <a:pt x="1133" y="784"/>
                  </a:lnTo>
                  <a:lnTo>
                    <a:pt x="1143" y="769"/>
                  </a:lnTo>
                  <a:lnTo>
                    <a:pt x="1154" y="752"/>
                  </a:lnTo>
                  <a:lnTo>
                    <a:pt x="1162" y="736"/>
                  </a:lnTo>
                  <a:lnTo>
                    <a:pt x="1170" y="717"/>
                  </a:lnTo>
                  <a:lnTo>
                    <a:pt x="1175" y="696"/>
                  </a:lnTo>
                  <a:lnTo>
                    <a:pt x="1179" y="675"/>
                  </a:lnTo>
                  <a:lnTo>
                    <a:pt x="1183" y="656"/>
                  </a:lnTo>
                  <a:lnTo>
                    <a:pt x="1183" y="633"/>
                  </a:lnTo>
                  <a:lnTo>
                    <a:pt x="1183" y="612"/>
                  </a:lnTo>
                  <a:lnTo>
                    <a:pt x="1181" y="593"/>
                  </a:lnTo>
                  <a:lnTo>
                    <a:pt x="1177" y="575"/>
                  </a:lnTo>
                  <a:close/>
                  <a:moveTo>
                    <a:pt x="148" y="790"/>
                  </a:moveTo>
                  <a:lnTo>
                    <a:pt x="138" y="788"/>
                  </a:lnTo>
                  <a:lnTo>
                    <a:pt x="127" y="782"/>
                  </a:lnTo>
                  <a:lnTo>
                    <a:pt x="119" y="775"/>
                  </a:lnTo>
                  <a:lnTo>
                    <a:pt x="110" y="769"/>
                  </a:lnTo>
                  <a:lnTo>
                    <a:pt x="94" y="754"/>
                  </a:lnTo>
                  <a:lnTo>
                    <a:pt x="87" y="746"/>
                  </a:lnTo>
                  <a:lnTo>
                    <a:pt x="79" y="733"/>
                  </a:lnTo>
                  <a:lnTo>
                    <a:pt x="75" y="723"/>
                  </a:lnTo>
                  <a:lnTo>
                    <a:pt x="69" y="713"/>
                  </a:lnTo>
                  <a:lnTo>
                    <a:pt x="65" y="700"/>
                  </a:lnTo>
                  <a:lnTo>
                    <a:pt x="60" y="687"/>
                  </a:lnTo>
                  <a:lnTo>
                    <a:pt x="56" y="675"/>
                  </a:lnTo>
                  <a:lnTo>
                    <a:pt x="56" y="660"/>
                  </a:lnTo>
                  <a:lnTo>
                    <a:pt x="52" y="648"/>
                  </a:lnTo>
                  <a:lnTo>
                    <a:pt x="52" y="621"/>
                  </a:lnTo>
                  <a:lnTo>
                    <a:pt x="56" y="606"/>
                  </a:lnTo>
                  <a:lnTo>
                    <a:pt x="56" y="593"/>
                  </a:lnTo>
                  <a:lnTo>
                    <a:pt x="60" y="579"/>
                  </a:lnTo>
                  <a:lnTo>
                    <a:pt x="65" y="566"/>
                  </a:lnTo>
                  <a:lnTo>
                    <a:pt x="69" y="554"/>
                  </a:lnTo>
                  <a:lnTo>
                    <a:pt x="75" y="543"/>
                  </a:lnTo>
                  <a:lnTo>
                    <a:pt x="79" y="533"/>
                  </a:lnTo>
                  <a:lnTo>
                    <a:pt x="87" y="522"/>
                  </a:lnTo>
                  <a:lnTo>
                    <a:pt x="94" y="514"/>
                  </a:lnTo>
                  <a:lnTo>
                    <a:pt x="110" y="497"/>
                  </a:lnTo>
                  <a:lnTo>
                    <a:pt x="119" y="491"/>
                  </a:lnTo>
                  <a:lnTo>
                    <a:pt x="138" y="481"/>
                  </a:lnTo>
                  <a:lnTo>
                    <a:pt x="148" y="476"/>
                  </a:lnTo>
                  <a:lnTo>
                    <a:pt x="148" y="790"/>
                  </a:lnTo>
                  <a:close/>
                  <a:moveTo>
                    <a:pt x="263" y="577"/>
                  </a:moveTo>
                  <a:lnTo>
                    <a:pt x="267" y="520"/>
                  </a:lnTo>
                  <a:lnTo>
                    <a:pt x="269" y="493"/>
                  </a:lnTo>
                  <a:lnTo>
                    <a:pt x="271" y="470"/>
                  </a:lnTo>
                  <a:lnTo>
                    <a:pt x="277" y="445"/>
                  </a:lnTo>
                  <a:lnTo>
                    <a:pt x="282" y="422"/>
                  </a:lnTo>
                  <a:lnTo>
                    <a:pt x="286" y="401"/>
                  </a:lnTo>
                  <a:lnTo>
                    <a:pt x="294" y="380"/>
                  </a:lnTo>
                  <a:lnTo>
                    <a:pt x="298" y="359"/>
                  </a:lnTo>
                  <a:lnTo>
                    <a:pt x="307" y="341"/>
                  </a:lnTo>
                  <a:lnTo>
                    <a:pt x="315" y="322"/>
                  </a:lnTo>
                  <a:lnTo>
                    <a:pt x="323" y="305"/>
                  </a:lnTo>
                  <a:lnTo>
                    <a:pt x="332" y="291"/>
                  </a:lnTo>
                  <a:lnTo>
                    <a:pt x="342" y="276"/>
                  </a:lnTo>
                  <a:lnTo>
                    <a:pt x="355" y="261"/>
                  </a:lnTo>
                  <a:lnTo>
                    <a:pt x="365" y="249"/>
                  </a:lnTo>
                  <a:lnTo>
                    <a:pt x="378" y="236"/>
                  </a:lnTo>
                  <a:lnTo>
                    <a:pt x="390" y="224"/>
                  </a:lnTo>
                  <a:lnTo>
                    <a:pt x="403" y="213"/>
                  </a:lnTo>
                  <a:lnTo>
                    <a:pt x="415" y="205"/>
                  </a:lnTo>
                  <a:lnTo>
                    <a:pt x="430" y="196"/>
                  </a:lnTo>
                  <a:lnTo>
                    <a:pt x="463" y="182"/>
                  </a:lnTo>
                  <a:lnTo>
                    <a:pt x="496" y="171"/>
                  </a:lnTo>
                  <a:lnTo>
                    <a:pt x="515" y="167"/>
                  </a:lnTo>
                  <a:lnTo>
                    <a:pt x="555" y="163"/>
                  </a:lnTo>
                  <a:lnTo>
                    <a:pt x="576" y="161"/>
                  </a:lnTo>
                  <a:lnTo>
                    <a:pt x="617" y="161"/>
                  </a:lnTo>
                  <a:lnTo>
                    <a:pt x="638" y="163"/>
                  </a:lnTo>
                  <a:lnTo>
                    <a:pt x="657" y="163"/>
                  </a:lnTo>
                  <a:lnTo>
                    <a:pt x="676" y="167"/>
                  </a:lnTo>
                  <a:lnTo>
                    <a:pt x="695" y="171"/>
                  </a:lnTo>
                  <a:lnTo>
                    <a:pt x="728" y="180"/>
                  </a:lnTo>
                  <a:lnTo>
                    <a:pt x="745" y="188"/>
                  </a:lnTo>
                  <a:lnTo>
                    <a:pt x="759" y="194"/>
                  </a:lnTo>
                  <a:lnTo>
                    <a:pt x="776" y="203"/>
                  </a:lnTo>
                  <a:lnTo>
                    <a:pt x="789" y="211"/>
                  </a:lnTo>
                  <a:lnTo>
                    <a:pt x="824" y="245"/>
                  </a:lnTo>
                  <a:lnTo>
                    <a:pt x="837" y="259"/>
                  </a:lnTo>
                  <a:lnTo>
                    <a:pt x="847" y="272"/>
                  </a:lnTo>
                  <a:lnTo>
                    <a:pt x="855" y="286"/>
                  </a:lnTo>
                  <a:lnTo>
                    <a:pt x="864" y="303"/>
                  </a:lnTo>
                  <a:lnTo>
                    <a:pt x="880" y="336"/>
                  </a:lnTo>
                  <a:lnTo>
                    <a:pt x="887" y="357"/>
                  </a:lnTo>
                  <a:lnTo>
                    <a:pt x="893" y="376"/>
                  </a:lnTo>
                  <a:lnTo>
                    <a:pt x="899" y="397"/>
                  </a:lnTo>
                  <a:lnTo>
                    <a:pt x="903" y="418"/>
                  </a:lnTo>
                  <a:lnTo>
                    <a:pt x="912" y="466"/>
                  </a:lnTo>
                  <a:lnTo>
                    <a:pt x="918" y="518"/>
                  </a:lnTo>
                  <a:lnTo>
                    <a:pt x="922" y="575"/>
                  </a:lnTo>
                  <a:lnTo>
                    <a:pt x="922" y="635"/>
                  </a:lnTo>
                  <a:lnTo>
                    <a:pt x="922" y="696"/>
                  </a:lnTo>
                  <a:lnTo>
                    <a:pt x="918" y="752"/>
                  </a:lnTo>
                  <a:lnTo>
                    <a:pt x="912" y="805"/>
                  </a:lnTo>
                  <a:lnTo>
                    <a:pt x="907" y="827"/>
                  </a:lnTo>
                  <a:lnTo>
                    <a:pt x="903" y="853"/>
                  </a:lnTo>
                  <a:lnTo>
                    <a:pt x="899" y="873"/>
                  </a:lnTo>
                  <a:lnTo>
                    <a:pt x="893" y="894"/>
                  </a:lnTo>
                  <a:lnTo>
                    <a:pt x="887" y="915"/>
                  </a:lnTo>
                  <a:lnTo>
                    <a:pt x="880" y="934"/>
                  </a:lnTo>
                  <a:lnTo>
                    <a:pt x="864" y="970"/>
                  </a:lnTo>
                  <a:lnTo>
                    <a:pt x="855" y="986"/>
                  </a:lnTo>
                  <a:lnTo>
                    <a:pt x="847" y="999"/>
                  </a:lnTo>
                  <a:lnTo>
                    <a:pt x="837" y="1013"/>
                  </a:lnTo>
                  <a:lnTo>
                    <a:pt x="824" y="1026"/>
                  </a:lnTo>
                  <a:lnTo>
                    <a:pt x="801" y="1049"/>
                  </a:lnTo>
                  <a:lnTo>
                    <a:pt x="789" y="1059"/>
                  </a:lnTo>
                  <a:lnTo>
                    <a:pt x="776" y="1070"/>
                  </a:lnTo>
                  <a:lnTo>
                    <a:pt x="745" y="1082"/>
                  </a:lnTo>
                  <a:lnTo>
                    <a:pt x="728" y="1089"/>
                  </a:lnTo>
                  <a:lnTo>
                    <a:pt x="713" y="1095"/>
                  </a:lnTo>
                  <a:lnTo>
                    <a:pt x="695" y="1101"/>
                  </a:lnTo>
                  <a:lnTo>
                    <a:pt x="676" y="1105"/>
                  </a:lnTo>
                  <a:lnTo>
                    <a:pt x="657" y="1107"/>
                  </a:lnTo>
                  <a:lnTo>
                    <a:pt x="638" y="1110"/>
                  </a:lnTo>
                  <a:lnTo>
                    <a:pt x="617" y="1110"/>
                  </a:lnTo>
                  <a:lnTo>
                    <a:pt x="572" y="1110"/>
                  </a:lnTo>
                  <a:lnTo>
                    <a:pt x="528" y="1105"/>
                  </a:lnTo>
                  <a:lnTo>
                    <a:pt x="505" y="1101"/>
                  </a:lnTo>
                  <a:lnTo>
                    <a:pt x="486" y="1097"/>
                  </a:lnTo>
                  <a:lnTo>
                    <a:pt x="465" y="1091"/>
                  </a:lnTo>
                  <a:lnTo>
                    <a:pt x="448" y="1082"/>
                  </a:lnTo>
                  <a:lnTo>
                    <a:pt x="430" y="1074"/>
                  </a:lnTo>
                  <a:lnTo>
                    <a:pt x="413" y="1066"/>
                  </a:lnTo>
                  <a:lnTo>
                    <a:pt x="398" y="1053"/>
                  </a:lnTo>
                  <a:lnTo>
                    <a:pt x="382" y="1041"/>
                  </a:lnTo>
                  <a:lnTo>
                    <a:pt x="355" y="1013"/>
                  </a:lnTo>
                  <a:lnTo>
                    <a:pt x="342" y="999"/>
                  </a:lnTo>
                  <a:lnTo>
                    <a:pt x="332" y="982"/>
                  </a:lnTo>
                  <a:lnTo>
                    <a:pt x="323" y="963"/>
                  </a:lnTo>
                  <a:lnTo>
                    <a:pt x="442" y="963"/>
                  </a:lnTo>
                  <a:lnTo>
                    <a:pt x="446" y="974"/>
                  </a:lnTo>
                  <a:lnTo>
                    <a:pt x="451" y="982"/>
                  </a:lnTo>
                  <a:lnTo>
                    <a:pt x="459" y="990"/>
                  </a:lnTo>
                  <a:lnTo>
                    <a:pt x="465" y="997"/>
                  </a:lnTo>
                  <a:lnTo>
                    <a:pt x="476" y="1001"/>
                  </a:lnTo>
                  <a:lnTo>
                    <a:pt x="486" y="1005"/>
                  </a:lnTo>
                  <a:lnTo>
                    <a:pt x="496" y="1009"/>
                  </a:lnTo>
                  <a:lnTo>
                    <a:pt x="507" y="1009"/>
                  </a:lnTo>
                  <a:lnTo>
                    <a:pt x="588" y="1009"/>
                  </a:lnTo>
                  <a:lnTo>
                    <a:pt x="603" y="1009"/>
                  </a:lnTo>
                  <a:lnTo>
                    <a:pt x="615" y="1005"/>
                  </a:lnTo>
                  <a:lnTo>
                    <a:pt x="626" y="999"/>
                  </a:lnTo>
                  <a:lnTo>
                    <a:pt x="636" y="990"/>
                  </a:lnTo>
                  <a:lnTo>
                    <a:pt x="645" y="980"/>
                  </a:lnTo>
                  <a:lnTo>
                    <a:pt x="651" y="970"/>
                  </a:lnTo>
                  <a:lnTo>
                    <a:pt x="655" y="955"/>
                  </a:lnTo>
                  <a:lnTo>
                    <a:pt x="655" y="942"/>
                  </a:lnTo>
                  <a:lnTo>
                    <a:pt x="655" y="932"/>
                  </a:lnTo>
                  <a:lnTo>
                    <a:pt x="655" y="917"/>
                  </a:lnTo>
                  <a:lnTo>
                    <a:pt x="651" y="905"/>
                  </a:lnTo>
                  <a:lnTo>
                    <a:pt x="645" y="894"/>
                  </a:lnTo>
                  <a:lnTo>
                    <a:pt x="636" y="884"/>
                  </a:lnTo>
                  <a:lnTo>
                    <a:pt x="626" y="876"/>
                  </a:lnTo>
                  <a:lnTo>
                    <a:pt x="615" y="869"/>
                  </a:lnTo>
                  <a:lnTo>
                    <a:pt x="603" y="865"/>
                  </a:lnTo>
                  <a:lnTo>
                    <a:pt x="588" y="865"/>
                  </a:lnTo>
                  <a:lnTo>
                    <a:pt x="496" y="865"/>
                  </a:lnTo>
                  <a:lnTo>
                    <a:pt x="486" y="867"/>
                  </a:lnTo>
                  <a:lnTo>
                    <a:pt x="476" y="871"/>
                  </a:lnTo>
                  <a:lnTo>
                    <a:pt x="465" y="878"/>
                  </a:lnTo>
                  <a:lnTo>
                    <a:pt x="451" y="890"/>
                  </a:lnTo>
                  <a:lnTo>
                    <a:pt x="446" y="901"/>
                  </a:lnTo>
                  <a:lnTo>
                    <a:pt x="442" y="911"/>
                  </a:lnTo>
                  <a:lnTo>
                    <a:pt x="298" y="911"/>
                  </a:lnTo>
                  <a:lnTo>
                    <a:pt x="290" y="882"/>
                  </a:lnTo>
                  <a:lnTo>
                    <a:pt x="282" y="853"/>
                  </a:lnTo>
                  <a:lnTo>
                    <a:pt x="275" y="821"/>
                  </a:lnTo>
                  <a:lnTo>
                    <a:pt x="271" y="788"/>
                  </a:lnTo>
                  <a:lnTo>
                    <a:pt x="267" y="752"/>
                  </a:lnTo>
                  <a:lnTo>
                    <a:pt x="263" y="715"/>
                  </a:lnTo>
                  <a:lnTo>
                    <a:pt x="263" y="675"/>
                  </a:lnTo>
                  <a:lnTo>
                    <a:pt x="261" y="635"/>
                  </a:lnTo>
                  <a:lnTo>
                    <a:pt x="263" y="577"/>
                  </a:lnTo>
                  <a:close/>
                  <a:moveTo>
                    <a:pt x="1131" y="648"/>
                  </a:moveTo>
                  <a:lnTo>
                    <a:pt x="1127" y="660"/>
                  </a:lnTo>
                  <a:lnTo>
                    <a:pt x="1127" y="675"/>
                  </a:lnTo>
                  <a:lnTo>
                    <a:pt x="1122" y="687"/>
                  </a:lnTo>
                  <a:lnTo>
                    <a:pt x="1118" y="700"/>
                  </a:lnTo>
                  <a:lnTo>
                    <a:pt x="1114" y="713"/>
                  </a:lnTo>
                  <a:lnTo>
                    <a:pt x="1110" y="723"/>
                  </a:lnTo>
                  <a:lnTo>
                    <a:pt x="1104" y="733"/>
                  </a:lnTo>
                  <a:lnTo>
                    <a:pt x="1097" y="746"/>
                  </a:lnTo>
                  <a:lnTo>
                    <a:pt x="1089" y="754"/>
                  </a:lnTo>
                  <a:lnTo>
                    <a:pt x="1074" y="769"/>
                  </a:lnTo>
                  <a:lnTo>
                    <a:pt x="1066" y="775"/>
                  </a:lnTo>
                  <a:lnTo>
                    <a:pt x="1056" y="782"/>
                  </a:lnTo>
                  <a:lnTo>
                    <a:pt x="1045" y="788"/>
                  </a:lnTo>
                  <a:lnTo>
                    <a:pt x="1035" y="790"/>
                  </a:lnTo>
                  <a:lnTo>
                    <a:pt x="1035" y="476"/>
                  </a:lnTo>
                  <a:lnTo>
                    <a:pt x="1045" y="481"/>
                  </a:lnTo>
                  <a:lnTo>
                    <a:pt x="1066" y="491"/>
                  </a:lnTo>
                  <a:lnTo>
                    <a:pt x="1074" y="497"/>
                  </a:lnTo>
                  <a:lnTo>
                    <a:pt x="1089" y="514"/>
                  </a:lnTo>
                  <a:lnTo>
                    <a:pt x="1097" y="522"/>
                  </a:lnTo>
                  <a:lnTo>
                    <a:pt x="1104" y="533"/>
                  </a:lnTo>
                  <a:lnTo>
                    <a:pt x="1110" y="543"/>
                  </a:lnTo>
                  <a:lnTo>
                    <a:pt x="1114" y="554"/>
                  </a:lnTo>
                  <a:lnTo>
                    <a:pt x="1118" y="566"/>
                  </a:lnTo>
                  <a:lnTo>
                    <a:pt x="1122" y="579"/>
                  </a:lnTo>
                  <a:lnTo>
                    <a:pt x="1127" y="593"/>
                  </a:lnTo>
                  <a:lnTo>
                    <a:pt x="1127" y="606"/>
                  </a:lnTo>
                  <a:lnTo>
                    <a:pt x="1131" y="621"/>
                  </a:lnTo>
                  <a:lnTo>
                    <a:pt x="1131" y="648"/>
                  </a:lnTo>
                  <a:close/>
                </a:path>
              </a:pathLst>
            </a:custGeom>
            <a:grpFill/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E61AFB4F-43F2-4300-BAA7-3376324A7C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5" y="1138"/>
              <a:ext cx="1183" cy="1164"/>
            </a:xfrm>
            <a:custGeom>
              <a:avLst/>
              <a:gdLst>
                <a:gd name="T0" fmla="*/ 1108 w 1183"/>
                <a:gd name="T1" fmla="*/ 456 h 1164"/>
                <a:gd name="T2" fmla="*/ 1018 w 1183"/>
                <a:gd name="T3" fmla="*/ 309 h 1164"/>
                <a:gd name="T4" fmla="*/ 933 w 1183"/>
                <a:gd name="T5" fmla="*/ 140 h 1164"/>
                <a:gd name="T6" fmla="*/ 757 w 1183"/>
                <a:gd name="T7" fmla="*/ 21 h 1164"/>
                <a:gd name="T8" fmla="*/ 547 w 1183"/>
                <a:gd name="T9" fmla="*/ 0 h 1164"/>
                <a:gd name="T10" fmla="*/ 378 w 1183"/>
                <a:gd name="T11" fmla="*/ 46 h 1164"/>
                <a:gd name="T12" fmla="*/ 242 w 1183"/>
                <a:gd name="T13" fmla="*/ 159 h 1164"/>
                <a:gd name="T14" fmla="*/ 154 w 1183"/>
                <a:gd name="T15" fmla="*/ 366 h 1164"/>
                <a:gd name="T16" fmla="*/ 52 w 1183"/>
                <a:gd name="T17" fmla="*/ 479 h 1164"/>
                <a:gd name="T18" fmla="*/ 0 w 1183"/>
                <a:gd name="T19" fmla="*/ 612 h 1164"/>
                <a:gd name="T20" fmla="*/ 44 w 1183"/>
                <a:gd name="T21" fmla="*/ 775 h 1164"/>
                <a:gd name="T22" fmla="*/ 104 w 1183"/>
                <a:gd name="T23" fmla="*/ 853 h 1164"/>
                <a:gd name="T24" fmla="*/ 158 w 1183"/>
                <a:gd name="T25" fmla="*/ 942 h 1164"/>
                <a:gd name="T26" fmla="*/ 284 w 1183"/>
                <a:gd name="T27" fmla="*/ 1005 h 1164"/>
                <a:gd name="T28" fmla="*/ 421 w 1183"/>
                <a:gd name="T29" fmla="*/ 1130 h 1164"/>
                <a:gd name="T30" fmla="*/ 655 w 1183"/>
                <a:gd name="T31" fmla="*/ 1160 h 1164"/>
                <a:gd name="T32" fmla="*/ 849 w 1183"/>
                <a:gd name="T33" fmla="*/ 1076 h 1164"/>
                <a:gd name="T34" fmla="*/ 943 w 1183"/>
                <a:gd name="T35" fmla="*/ 911 h 1164"/>
                <a:gd name="T36" fmla="*/ 970 w 1183"/>
                <a:gd name="T37" fmla="*/ 495 h 1164"/>
                <a:gd name="T38" fmla="*/ 912 w 1183"/>
                <a:gd name="T39" fmla="*/ 278 h 1164"/>
                <a:gd name="T40" fmla="*/ 776 w 1183"/>
                <a:gd name="T41" fmla="*/ 144 h 1164"/>
                <a:gd name="T42" fmla="*/ 534 w 1183"/>
                <a:gd name="T43" fmla="*/ 111 h 1164"/>
                <a:gd name="T44" fmla="*/ 352 w 1183"/>
                <a:gd name="T45" fmla="*/ 184 h 1164"/>
                <a:gd name="T46" fmla="*/ 240 w 1183"/>
                <a:gd name="T47" fmla="*/ 370 h 1164"/>
                <a:gd name="T48" fmla="*/ 208 w 1183"/>
                <a:gd name="T49" fmla="*/ 704 h 1164"/>
                <a:gd name="T50" fmla="*/ 202 w 1183"/>
                <a:gd name="T51" fmla="*/ 907 h 1164"/>
                <a:gd name="T52" fmla="*/ 156 w 1183"/>
                <a:gd name="T53" fmla="*/ 846 h 1164"/>
                <a:gd name="T54" fmla="*/ 221 w 1183"/>
                <a:gd name="T55" fmla="*/ 322 h 1164"/>
                <a:gd name="T56" fmla="*/ 327 w 1183"/>
                <a:gd name="T57" fmla="*/ 142 h 1164"/>
                <a:gd name="T58" fmla="*/ 511 w 1183"/>
                <a:gd name="T59" fmla="*/ 59 h 1164"/>
                <a:gd name="T60" fmla="*/ 720 w 1183"/>
                <a:gd name="T61" fmla="*/ 67 h 1164"/>
                <a:gd name="T62" fmla="*/ 876 w 1183"/>
                <a:gd name="T63" fmla="*/ 155 h 1164"/>
                <a:gd name="T64" fmla="*/ 966 w 1183"/>
                <a:gd name="T65" fmla="*/ 322 h 1164"/>
                <a:gd name="T66" fmla="*/ 1062 w 1183"/>
                <a:gd name="T67" fmla="*/ 838 h 1164"/>
                <a:gd name="T68" fmla="*/ 1162 w 1183"/>
                <a:gd name="T69" fmla="*/ 736 h 1164"/>
                <a:gd name="T70" fmla="*/ 1177 w 1183"/>
                <a:gd name="T71" fmla="*/ 575 h 1164"/>
                <a:gd name="T72" fmla="*/ 79 w 1183"/>
                <a:gd name="T73" fmla="*/ 733 h 1164"/>
                <a:gd name="T74" fmla="*/ 52 w 1183"/>
                <a:gd name="T75" fmla="*/ 621 h 1164"/>
                <a:gd name="T76" fmla="*/ 87 w 1183"/>
                <a:gd name="T77" fmla="*/ 522 h 1164"/>
                <a:gd name="T78" fmla="*/ 267 w 1183"/>
                <a:gd name="T79" fmla="*/ 520 h 1164"/>
                <a:gd name="T80" fmla="*/ 307 w 1183"/>
                <a:gd name="T81" fmla="*/ 341 h 1164"/>
                <a:gd name="T82" fmla="*/ 390 w 1183"/>
                <a:gd name="T83" fmla="*/ 224 h 1164"/>
                <a:gd name="T84" fmla="*/ 576 w 1183"/>
                <a:gd name="T85" fmla="*/ 161 h 1164"/>
                <a:gd name="T86" fmla="*/ 759 w 1183"/>
                <a:gd name="T87" fmla="*/ 194 h 1164"/>
                <a:gd name="T88" fmla="*/ 880 w 1183"/>
                <a:gd name="T89" fmla="*/ 336 h 1164"/>
                <a:gd name="T90" fmla="*/ 922 w 1183"/>
                <a:gd name="T91" fmla="*/ 635 h 1164"/>
                <a:gd name="T92" fmla="*/ 887 w 1183"/>
                <a:gd name="T93" fmla="*/ 915 h 1164"/>
                <a:gd name="T94" fmla="*/ 789 w 1183"/>
                <a:gd name="T95" fmla="*/ 1059 h 1164"/>
                <a:gd name="T96" fmla="*/ 638 w 1183"/>
                <a:gd name="T97" fmla="*/ 1110 h 1164"/>
                <a:gd name="T98" fmla="*/ 430 w 1183"/>
                <a:gd name="T99" fmla="*/ 1074 h 1164"/>
                <a:gd name="T100" fmla="*/ 442 w 1183"/>
                <a:gd name="T101" fmla="*/ 963 h 1164"/>
                <a:gd name="T102" fmla="*/ 507 w 1183"/>
                <a:gd name="T103" fmla="*/ 1009 h 1164"/>
                <a:gd name="T104" fmla="*/ 655 w 1183"/>
                <a:gd name="T105" fmla="*/ 955 h 1164"/>
                <a:gd name="T106" fmla="*/ 615 w 1183"/>
                <a:gd name="T107" fmla="*/ 869 h 1164"/>
                <a:gd name="T108" fmla="*/ 446 w 1183"/>
                <a:gd name="T109" fmla="*/ 901 h 1164"/>
                <a:gd name="T110" fmla="*/ 263 w 1183"/>
                <a:gd name="T111" fmla="*/ 715 h 1164"/>
                <a:gd name="T112" fmla="*/ 1118 w 1183"/>
                <a:gd name="T113" fmla="*/ 700 h 1164"/>
                <a:gd name="T114" fmla="*/ 1056 w 1183"/>
                <a:gd name="T115" fmla="*/ 782 h 1164"/>
                <a:gd name="T116" fmla="*/ 1097 w 1183"/>
                <a:gd name="T117" fmla="*/ 522 h 1164"/>
                <a:gd name="T118" fmla="*/ 1131 w 1183"/>
                <a:gd name="T119" fmla="*/ 621 h 1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3" h="1164">
                  <a:moveTo>
                    <a:pt x="1177" y="575"/>
                  </a:moveTo>
                  <a:lnTo>
                    <a:pt x="1172" y="558"/>
                  </a:lnTo>
                  <a:lnTo>
                    <a:pt x="1166" y="539"/>
                  </a:lnTo>
                  <a:lnTo>
                    <a:pt x="1158" y="525"/>
                  </a:lnTo>
                  <a:lnTo>
                    <a:pt x="1150" y="508"/>
                  </a:lnTo>
                  <a:lnTo>
                    <a:pt x="1141" y="493"/>
                  </a:lnTo>
                  <a:lnTo>
                    <a:pt x="1118" y="466"/>
                  </a:lnTo>
                  <a:lnTo>
                    <a:pt x="1108" y="456"/>
                  </a:lnTo>
                  <a:lnTo>
                    <a:pt x="1093" y="445"/>
                  </a:lnTo>
                  <a:lnTo>
                    <a:pt x="1066" y="430"/>
                  </a:lnTo>
                  <a:lnTo>
                    <a:pt x="1051" y="426"/>
                  </a:lnTo>
                  <a:lnTo>
                    <a:pt x="1035" y="422"/>
                  </a:lnTo>
                  <a:lnTo>
                    <a:pt x="1033" y="397"/>
                  </a:lnTo>
                  <a:lnTo>
                    <a:pt x="1028" y="366"/>
                  </a:lnTo>
                  <a:lnTo>
                    <a:pt x="1022" y="330"/>
                  </a:lnTo>
                  <a:lnTo>
                    <a:pt x="1018" y="309"/>
                  </a:lnTo>
                  <a:lnTo>
                    <a:pt x="1012" y="288"/>
                  </a:lnTo>
                  <a:lnTo>
                    <a:pt x="1003" y="268"/>
                  </a:lnTo>
                  <a:lnTo>
                    <a:pt x="995" y="247"/>
                  </a:lnTo>
                  <a:lnTo>
                    <a:pt x="987" y="224"/>
                  </a:lnTo>
                  <a:lnTo>
                    <a:pt x="976" y="203"/>
                  </a:lnTo>
                  <a:lnTo>
                    <a:pt x="962" y="180"/>
                  </a:lnTo>
                  <a:lnTo>
                    <a:pt x="947" y="159"/>
                  </a:lnTo>
                  <a:lnTo>
                    <a:pt x="933" y="140"/>
                  </a:lnTo>
                  <a:lnTo>
                    <a:pt x="914" y="119"/>
                  </a:lnTo>
                  <a:lnTo>
                    <a:pt x="899" y="105"/>
                  </a:lnTo>
                  <a:lnTo>
                    <a:pt x="885" y="92"/>
                  </a:lnTo>
                  <a:lnTo>
                    <a:pt x="851" y="67"/>
                  </a:lnTo>
                  <a:lnTo>
                    <a:pt x="814" y="46"/>
                  </a:lnTo>
                  <a:lnTo>
                    <a:pt x="797" y="38"/>
                  </a:lnTo>
                  <a:lnTo>
                    <a:pt x="776" y="29"/>
                  </a:lnTo>
                  <a:lnTo>
                    <a:pt x="757" y="21"/>
                  </a:lnTo>
                  <a:lnTo>
                    <a:pt x="736" y="17"/>
                  </a:lnTo>
                  <a:lnTo>
                    <a:pt x="713" y="11"/>
                  </a:lnTo>
                  <a:lnTo>
                    <a:pt x="690" y="8"/>
                  </a:lnTo>
                  <a:lnTo>
                    <a:pt x="668" y="4"/>
                  </a:lnTo>
                  <a:lnTo>
                    <a:pt x="645" y="0"/>
                  </a:lnTo>
                  <a:lnTo>
                    <a:pt x="620" y="0"/>
                  </a:lnTo>
                  <a:lnTo>
                    <a:pt x="572" y="0"/>
                  </a:lnTo>
                  <a:lnTo>
                    <a:pt x="547" y="0"/>
                  </a:lnTo>
                  <a:lnTo>
                    <a:pt x="524" y="4"/>
                  </a:lnTo>
                  <a:lnTo>
                    <a:pt x="499" y="8"/>
                  </a:lnTo>
                  <a:lnTo>
                    <a:pt x="478" y="11"/>
                  </a:lnTo>
                  <a:lnTo>
                    <a:pt x="457" y="17"/>
                  </a:lnTo>
                  <a:lnTo>
                    <a:pt x="436" y="21"/>
                  </a:lnTo>
                  <a:lnTo>
                    <a:pt x="415" y="29"/>
                  </a:lnTo>
                  <a:lnTo>
                    <a:pt x="394" y="36"/>
                  </a:lnTo>
                  <a:lnTo>
                    <a:pt x="378" y="46"/>
                  </a:lnTo>
                  <a:lnTo>
                    <a:pt x="359" y="56"/>
                  </a:lnTo>
                  <a:lnTo>
                    <a:pt x="340" y="67"/>
                  </a:lnTo>
                  <a:lnTo>
                    <a:pt x="323" y="79"/>
                  </a:lnTo>
                  <a:lnTo>
                    <a:pt x="307" y="92"/>
                  </a:lnTo>
                  <a:lnTo>
                    <a:pt x="292" y="105"/>
                  </a:lnTo>
                  <a:lnTo>
                    <a:pt x="275" y="117"/>
                  </a:lnTo>
                  <a:lnTo>
                    <a:pt x="259" y="138"/>
                  </a:lnTo>
                  <a:lnTo>
                    <a:pt x="242" y="159"/>
                  </a:lnTo>
                  <a:lnTo>
                    <a:pt x="227" y="180"/>
                  </a:lnTo>
                  <a:lnTo>
                    <a:pt x="213" y="201"/>
                  </a:lnTo>
                  <a:lnTo>
                    <a:pt x="192" y="247"/>
                  </a:lnTo>
                  <a:lnTo>
                    <a:pt x="183" y="268"/>
                  </a:lnTo>
                  <a:lnTo>
                    <a:pt x="175" y="288"/>
                  </a:lnTo>
                  <a:lnTo>
                    <a:pt x="169" y="309"/>
                  </a:lnTo>
                  <a:lnTo>
                    <a:pt x="163" y="328"/>
                  </a:lnTo>
                  <a:lnTo>
                    <a:pt x="154" y="366"/>
                  </a:lnTo>
                  <a:lnTo>
                    <a:pt x="150" y="397"/>
                  </a:lnTo>
                  <a:lnTo>
                    <a:pt x="150" y="422"/>
                  </a:lnTo>
                  <a:lnTo>
                    <a:pt x="133" y="426"/>
                  </a:lnTo>
                  <a:lnTo>
                    <a:pt x="104" y="437"/>
                  </a:lnTo>
                  <a:lnTo>
                    <a:pt x="90" y="445"/>
                  </a:lnTo>
                  <a:lnTo>
                    <a:pt x="77" y="456"/>
                  </a:lnTo>
                  <a:lnTo>
                    <a:pt x="65" y="466"/>
                  </a:lnTo>
                  <a:lnTo>
                    <a:pt x="52" y="479"/>
                  </a:lnTo>
                  <a:lnTo>
                    <a:pt x="44" y="493"/>
                  </a:lnTo>
                  <a:lnTo>
                    <a:pt x="33" y="508"/>
                  </a:lnTo>
                  <a:lnTo>
                    <a:pt x="25" y="525"/>
                  </a:lnTo>
                  <a:lnTo>
                    <a:pt x="17" y="539"/>
                  </a:lnTo>
                  <a:lnTo>
                    <a:pt x="12" y="556"/>
                  </a:lnTo>
                  <a:lnTo>
                    <a:pt x="6" y="575"/>
                  </a:lnTo>
                  <a:lnTo>
                    <a:pt x="4" y="593"/>
                  </a:lnTo>
                  <a:lnTo>
                    <a:pt x="0" y="612"/>
                  </a:lnTo>
                  <a:lnTo>
                    <a:pt x="0" y="648"/>
                  </a:lnTo>
                  <a:lnTo>
                    <a:pt x="2" y="665"/>
                  </a:lnTo>
                  <a:lnTo>
                    <a:pt x="4" y="681"/>
                  </a:lnTo>
                  <a:lnTo>
                    <a:pt x="12" y="710"/>
                  </a:lnTo>
                  <a:lnTo>
                    <a:pt x="17" y="723"/>
                  </a:lnTo>
                  <a:lnTo>
                    <a:pt x="27" y="752"/>
                  </a:lnTo>
                  <a:lnTo>
                    <a:pt x="35" y="763"/>
                  </a:lnTo>
                  <a:lnTo>
                    <a:pt x="44" y="775"/>
                  </a:lnTo>
                  <a:lnTo>
                    <a:pt x="52" y="786"/>
                  </a:lnTo>
                  <a:lnTo>
                    <a:pt x="62" y="796"/>
                  </a:lnTo>
                  <a:lnTo>
                    <a:pt x="71" y="805"/>
                  </a:lnTo>
                  <a:lnTo>
                    <a:pt x="81" y="815"/>
                  </a:lnTo>
                  <a:lnTo>
                    <a:pt x="92" y="821"/>
                  </a:lnTo>
                  <a:lnTo>
                    <a:pt x="102" y="827"/>
                  </a:lnTo>
                  <a:lnTo>
                    <a:pt x="102" y="840"/>
                  </a:lnTo>
                  <a:lnTo>
                    <a:pt x="104" y="853"/>
                  </a:lnTo>
                  <a:lnTo>
                    <a:pt x="104" y="863"/>
                  </a:lnTo>
                  <a:lnTo>
                    <a:pt x="106" y="873"/>
                  </a:lnTo>
                  <a:lnTo>
                    <a:pt x="110" y="886"/>
                  </a:lnTo>
                  <a:lnTo>
                    <a:pt x="117" y="901"/>
                  </a:lnTo>
                  <a:lnTo>
                    <a:pt x="125" y="913"/>
                  </a:lnTo>
                  <a:lnTo>
                    <a:pt x="138" y="926"/>
                  </a:lnTo>
                  <a:lnTo>
                    <a:pt x="146" y="936"/>
                  </a:lnTo>
                  <a:lnTo>
                    <a:pt x="158" y="942"/>
                  </a:lnTo>
                  <a:lnTo>
                    <a:pt x="167" y="949"/>
                  </a:lnTo>
                  <a:lnTo>
                    <a:pt x="179" y="955"/>
                  </a:lnTo>
                  <a:lnTo>
                    <a:pt x="192" y="957"/>
                  </a:lnTo>
                  <a:lnTo>
                    <a:pt x="206" y="961"/>
                  </a:lnTo>
                  <a:lnTo>
                    <a:pt x="221" y="963"/>
                  </a:lnTo>
                  <a:lnTo>
                    <a:pt x="263" y="963"/>
                  </a:lnTo>
                  <a:lnTo>
                    <a:pt x="271" y="986"/>
                  </a:lnTo>
                  <a:lnTo>
                    <a:pt x="284" y="1005"/>
                  </a:lnTo>
                  <a:lnTo>
                    <a:pt x="294" y="1024"/>
                  </a:lnTo>
                  <a:lnTo>
                    <a:pt x="311" y="1043"/>
                  </a:lnTo>
                  <a:lnTo>
                    <a:pt x="325" y="1059"/>
                  </a:lnTo>
                  <a:lnTo>
                    <a:pt x="342" y="1076"/>
                  </a:lnTo>
                  <a:lnTo>
                    <a:pt x="359" y="1093"/>
                  </a:lnTo>
                  <a:lnTo>
                    <a:pt x="378" y="1107"/>
                  </a:lnTo>
                  <a:lnTo>
                    <a:pt x="400" y="1120"/>
                  </a:lnTo>
                  <a:lnTo>
                    <a:pt x="421" y="1130"/>
                  </a:lnTo>
                  <a:lnTo>
                    <a:pt x="446" y="1141"/>
                  </a:lnTo>
                  <a:lnTo>
                    <a:pt x="473" y="1149"/>
                  </a:lnTo>
                  <a:lnTo>
                    <a:pt x="501" y="1156"/>
                  </a:lnTo>
                  <a:lnTo>
                    <a:pt x="532" y="1160"/>
                  </a:lnTo>
                  <a:lnTo>
                    <a:pt x="563" y="1162"/>
                  </a:lnTo>
                  <a:lnTo>
                    <a:pt x="597" y="1164"/>
                  </a:lnTo>
                  <a:lnTo>
                    <a:pt x="628" y="1164"/>
                  </a:lnTo>
                  <a:lnTo>
                    <a:pt x="655" y="1160"/>
                  </a:lnTo>
                  <a:lnTo>
                    <a:pt x="684" y="1156"/>
                  </a:lnTo>
                  <a:lnTo>
                    <a:pt x="709" y="1151"/>
                  </a:lnTo>
                  <a:lnTo>
                    <a:pt x="757" y="1137"/>
                  </a:lnTo>
                  <a:lnTo>
                    <a:pt x="776" y="1126"/>
                  </a:lnTo>
                  <a:lnTo>
                    <a:pt x="797" y="1116"/>
                  </a:lnTo>
                  <a:lnTo>
                    <a:pt x="816" y="1103"/>
                  </a:lnTo>
                  <a:lnTo>
                    <a:pt x="832" y="1091"/>
                  </a:lnTo>
                  <a:lnTo>
                    <a:pt x="849" y="1076"/>
                  </a:lnTo>
                  <a:lnTo>
                    <a:pt x="864" y="1062"/>
                  </a:lnTo>
                  <a:lnTo>
                    <a:pt x="876" y="1045"/>
                  </a:lnTo>
                  <a:lnTo>
                    <a:pt x="901" y="1011"/>
                  </a:lnTo>
                  <a:lnTo>
                    <a:pt x="912" y="990"/>
                  </a:lnTo>
                  <a:lnTo>
                    <a:pt x="922" y="974"/>
                  </a:lnTo>
                  <a:lnTo>
                    <a:pt x="930" y="951"/>
                  </a:lnTo>
                  <a:lnTo>
                    <a:pt x="937" y="932"/>
                  </a:lnTo>
                  <a:lnTo>
                    <a:pt x="943" y="911"/>
                  </a:lnTo>
                  <a:lnTo>
                    <a:pt x="949" y="888"/>
                  </a:lnTo>
                  <a:lnTo>
                    <a:pt x="955" y="867"/>
                  </a:lnTo>
                  <a:lnTo>
                    <a:pt x="964" y="821"/>
                  </a:lnTo>
                  <a:lnTo>
                    <a:pt x="970" y="775"/>
                  </a:lnTo>
                  <a:lnTo>
                    <a:pt x="972" y="729"/>
                  </a:lnTo>
                  <a:lnTo>
                    <a:pt x="976" y="635"/>
                  </a:lnTo>
                  <a:lnTo>
                    <a:pt x="972" y="541"/>
                  </a:lnTo>
                  <a:lnTo>
                    <a:pt x="970" y="495"/>
                  </a:lnTo>
                  <a:lnTo>
                    <a:pt x="964" y="449"/>
                  </a:lnTo>
                  <a:lnTo>
                    <a:pt x="955" y="405"/>
                  </a:lnTo>
                  <a:lnTo>
                    <a:pt x="949" y="382"/>
                  </a:lnTo>
                  <a:lnTo>
                    <a:pt x="943" y="359"/>
                  </a:lnTo>
                  <a:lnTo>
                    <a:pt x="937" y="339"/>
                  </a:lnTo>
                  <a:lnTo>
                    <a:pt x="930" y="318"/>
                  </a:lnTo>
                  <a:lnTo>
                    <a:pt x="922" y="299"/>
                  </a:lnTo>
                  <a:lnTo>
                    <a:pt x="912" y="278"/>
                  </a:lnTo>
                  <a:lnTo>
                    <a:pt x="901" y="261"/>
                  </a:lnTo>
                  <a:lnTo>
                    <a:pt x="876" y="226"/>
                  </a:lnTo>
                  <a:lnTo>
                    <a:pt x="864" y="211"/>
                  </a:lnTo>
                  <a:lnTo>
                    <a:pt x="849" y="194"/>
                  </a:lnTo>
                  <a:lnTo>
                    <a:pt x="832" y="180"/>
                  </a:lnTo>
                  <a:lnTo>
                    <a:pt x="816" y="167"/>
                  </a:lnTo>
                  <a:lnTo>
                    <a:pt x="797" y="155"/>
                  </a:lnTo>
                  <a:lnTo>
                    <a:pt x="776" y="144"/>
                  </a:lnTo>
                  <a:lnTo>
                    <a:pt x="757" y="136"/>
                  </a:lnTo>
                  <a:lnTo>
                    <a:pt x="732" y="128"/>
                  </a:lnTo>
                  <a:lnTo>
                    <a:pt x="709" y="119"/>
                  </a:lnTo>
                  <a:lnTo>
                    <a:pt x="684" y="115"/>
                  </a:lnTo>
                  <a:lnTo>
                    <a:pt x="655" y="111"/>
                  </a:lnTo>
                  <a:lnTo>
                    <a:pt x="628" y="109"/>
                  </a:lnTo>
                  <a:lnTo>
                    <a:pt x="565" y="109"/>
                  </a:lnTo>
                  <a:lnTo>
                    <a:pt x="534" y="111"/>
                  </a:lnTo>
                  <a:lnTo>
                    <a:pt x="507" y="115"/>
                  </a:lnTo>
                  <a:lnTo>
                    <a:pt x="480" y="119"/>
                  </a:lnTo>
                  <a:lnTo>
                    <a:pt x="455" y="128"/>
                  </a:lnTo>
                  <a:lnTo>
                    <a:pt x="432" y="136"/>
                  </a:lnTo>
                  <a:lnTo>
                    <a:pt x="409" y="146"/>
                  </a:lnTo>
                  <a:lnTo>
                    <a:pt x="390" y="159"/>
                  </a:lnTo>
                  <a:lnTo>
                    <a:pt x="369" y="171"/>
                  </a:lnTo>
                  <a:lnTo>
                    <a:pt x="352" y="184"/>
                  </a:lnTo>
                  <a:lnTo>
                    <a:pt x="336" y="199"/>
                  </a:lnTo>
                  <a:lnTo>
                    <a:pt x="307" y="230"/>
                  </a:lnTo>
                  <a:lnTo>
                    <a:pt x="294" y="249"/>
                  </a:lnTo>
                  <a:lnTo>
                    <a:pt x="271" y="286"/>
                  </a:lnTo>
                  <a:lnTo>
                    <a:pt x="263" y="305"/>
                  </a:lnTo>
                  <a:lnTo>
                    <a:pt x="254" y="326"/>
                  </a:lnTo>
                  <a:lnTo>
                    <a:pt x="246" y="347"/>
                  </a:lnTo>
                  <a:lnTo>
                    <a:pt x="240" y="370"/>
                  </a:lnTo>
                  <a:lnTo>
                    <a:pt x="227" y="414"/>
                  </a:lnTo>
                  <a:lnTo>
                    <a:pt x="221" y="458"/>
                  </a:lnTo>
                  <a:lnTo>
                    <a:pt x="215" y="504"/>
                  </a:lnTo>
                  <a:lnTo>
                    <a:pt x="211" y="548"/>
                  </a:lnTo>
                  <a:lnTo>
                    <a:pt x="208" y="593"/>
                  </a:lnTo>
                  <a:lnTo>
                    <a:pt x="208" y="635"/>
                  </a:lnTo>
                  <a:lnTo>
                    <a:pt x="208" y="669"/>
                  </a:lnTo>
                  <a:lnTo>
                    <a:pt x="208" y="704"/>
                  </a:lnTo>
                  <a:lnTo>
                    <a:pt x="215" y="771"/>
                  </a:lnTo>
                  <a:lnTo>
                    <a:pt x="219" y="807"/>
                  </a:lnTo>
                  <a:lnTo>
                    <a:pt x="225" y="842"/>
                  </a:lnTo>
                  <a:lnTo>
                    <a:pt x="234" y="878"/>
                  </a:lnTo>
                  <a:lnTo>
                    <a:pt x="242" y="911"/>
                  </a:lnTo>
                  <a:lnTo>
                    <a:pt x="223" y="911"/>
                  </a:lnTo>
                  <a:lnTo>
                    <a:pt x="211" y="909"/>
                  </a:lnTo>
                  <a:lnTo>
                    <a:pt x="202" y="907"/>
                  </a:lnTo>
                  <a:lnTo>
                    <a:pt x="188" y="899"/>
                  </a:lnTo>
                  <a:lnTo>
                    <a:pt x="179" y="894"/>
                  </a:lnTo>
                  <a:lnTo>
                    <a:pt x="175" y="890"/>
                  </a:lnTo>
                  <a:lnTo>
                    <a:pt x="171" y="884"/>
                  </a:lnTo>
                  <a:lnTo>
                    <a:pt x="163" y="873"/>
                  </a:lnTo>
                  <a:lnTo>
                    <a:pt x="158" y="863"/>
                  </a:lnTo>
                  <a:lnTo>
                    <a:pt x="156" y="853"/>
                  </a:lnTo>
                  <a:lnTo>
                    <a:pt x="156" y="846"/>
                  </a:lnTo>
                  <a:lnTo>
                    <a:pt x="173" y="846"/>
                  </a:lnTo>
                  <a:lnTo>
                    <a:pt x="200" y="846"/>
                  </a:lnTo>
                  <a:lnTo>
                    <a:pt x="200" y="437"/>
                  </a:lnTo>
                  <a:lnTo>
                    <a:pt x="202" y="418"/>
                  </a:lnTo>
                  <a:lnTo>
                    <a:pt x="206" y="382"/>
                  </a:lnTo>
                  <a:lnTo>
                    <a:pt x="208" y="364"/>
                  </a:lnTo>
                  <a:lnTo>
                    <a:pt x="215" y="343"/>
                  </a:lnTo>
                  <a:lnTo>
                    <a:pt x="221" y="322"/>
                  </a:lnTo>
                  <a:lnTo>
                    <a:pt x="227" y="297"/>
                  </a:lnTo>
                  <a:lnTo>
                    <a:pt x="238" y="274"/>
                  </a:lnTo>
                  <a:lnTo>
                    <a:pt x="248" y="249"/>
                  </a:lnTo>
                  <a:lnTo>
                    <a:pt x="261" y="224"/>
                  </a:lnTo>
                  <a:lnTo>
                    <a:pt x="277" y="201"/>
                  </a:lnTo>
                  <a:lnTo>
                    <a:pt x="294" y="178"/>
                  </a:lnTo>
                  <a:lnTo>
                    <a:pt x="315" y="155"/>
                  </a:lnTo>
                  <a:lnTo>
                    <a:pt x="327" y="142"/>
                  </a:lnTo>
                  <a:lnTo>
                    <a:pt x="355" y="119"/>
                  </a:lnTo>
                  <a:lnTo>
                    <a:pt x="369" y="111"/>
                  </a:lnTo>
                  <a:lnTo>
                    <a:pt x="400" y="92"/>
                  </a:lnTo>
                  <a:lnTo>
                    <a:pt x="436" y="79"/>
                  </a:lnTo>
                  <a:lnTo>
                    <a:pt x="453" y="71"/>
                  </a:lnTo>
                  <a:lnTo>
                    <a:pt x="471" y="67"/>
                  </a:lnTo>
                  <a:lnTo>
                    <a:pt x="490" y="63"/>
                  </a:lnTo>
                  <a:lnTo>
                    <a:pt x="511" y="59"/>
                  </a:lnTo>
                  <a:lnTo>
                    <a:pt x="530" y="56"/>
                  </a:lnTo>
                  <a:lnTo>
                    <a:pt x="551" y="54"/>
                  </a:lnTo>
                  <a:lnTo>
                    <a:pt x="574" y="52"/>
                  </a:lnTo>
                  <a:lnTo>
                    <a:pt x="617" y="52"/>
                  </a:lnTo>
                  <a:lnTo>
                    <a:pt x="638" y="54"/>
                  </a:lnTo>
                  <a:lnTo>
                    <a:pt x="680" y="59"/>
                  </a:lnTo>
                  <a:lnTo>
                    <a:pt x="701" y="63"/>
                  </a:lnTo>
                  <a:lnTo>
                    <a:pt x="720" y="67"/>
                  </a:lnTo>
                  <a:lnTo>
                    <a:pt x="738" y="71"/>
                  </a:lnTo>
                  <a:lnTo>
                    <a:pt x="755" y="79"/>
                  </a:lnTo>
                  <a:lnTo>
                    <a:pt x="789" y="92"/>
                  </a:lnTo>
                  <a:lnTo>
                    <a:pt x="805" y="102"/>
                  </a:lnTo>
                  <a:lnTo>
                    <a:pt x="820" y="111"/>
                  </a:lnTo>
                  <a:lnTo>
                    <a:pt x="837" y="119"/>
                  </a:lnTo>
                  <a:lnTo>
                    <a:pt x="862" y="142"/>
                  </a:lnTo>
                  <a:lnTo>
                    <a:pt x="876" y="155"/>
                  </a:lnTo>
                  <a:lnTo>
                    <a:pt x="893" y="176"/>
                  </a:lnTo>
                  <a:lnTo>
                    <a:pt x="910" y="194"/>
                  </a:lnTo>
                  <a:lnTo>
                    <a:pt x="922" y="215"/>
                  </a:lnTo>
                  <a:lnTo>
                    <a:pt x="933" y="238"/>
                  </a:lnTo>
                  <a:lnTo>
                    <a:pt x="945" y="259"/>
                  </a:lnTo>
                  <a:lnTo>
                    <a:pt x="953" y="282"/>
                  </a:lnTo>
                  <a:lnTo>
                    <a:pt x="960" y="303"/>
                  </a:lnTo>
                  <a:lnTo>
                    <a:pt x="966" y="322"/>
                  </a:lnTo>
                  <a:lnTo>
                    <a:pt x="976" y="362"/>
                  </a:lnTo>
                  <a:lnTo>
                    <a:pt x="981" y="395"/>
                  </a:lnTo>
                  <a:lnTo>
                    <a:pt x="983" y="422"/>
                  </a:lnTo>
                  <a:lnTo>
                    <a:pt x="983" y="846"/>
                  </a:lnTo>
                  <a:lnTo>
                    <a:pt x="1010" y="846"/>
                  </a:lnTo>
                  <a:lnTo>
                    <a:pt x="1026" y="846"/>
                  </a:lnTo>
                  <a:lnTo>
                    <a:pt x="1043" y="842"/>
                  </a:lnTo>
                  <a:lnTo>
                    <a:pt x="1062" y="838"/>
                  </a:lnTo>
                  <a:lnTo>
                    <a:pt x="1079" y="830"/>
                  </a:lnTo>
                  <a:lnTo>
                    <a:pt x="1091" y="821"/>
                  </a:lnTo>
                  <a:lnTo>
                    <a:pt x="1108" y="811"/>
                  </a:lnTo>
                  <a:lnTo>
                    <a:pt x="1120" y="798"/>
                  </a:lnTo>
                  <a:lnTo>
                    <a:pt x="1133" y="784"/>
                  </a:lnTo>
                  <a:lnTo>
                    <a:pt x="1143" y="769"/>
                  </a:lnTo>
                  <a:lnTo>
                    <a:pt x="1154" y="752"/>
                  </a:lnTo>
                  <a:lnTo>
                    <a:pt x="1162" y="736"/>
                  </a:lnTo>
                  <a:lnTo>
                    <a:pt x="1170" y="717"/>
                  </a:lnTo>
                  <a:lnTo>
                    <a:pt x="1175" y="696"/>
                  </a:lnTo>
                  <a:lnTo>
                    <a:pt x="1179" y="675"/>
                  </a:lnTo>
                  <a:lnTo>
                    <a:pt x="1183" y="656"/>
                  </a:lnTo>
                  <a:lnTo>
                    <a:pt x="1183" y="633"/>
                  </a:lnTo>
                  <a:lnTo>
                    <a:pt x="1183" y="612"/>
                  </a:lnTo>
                  <a:lnTo>
                    <a:pt x="1181" y="593"/>
                  </a:lnTo>
                  <a:lnTo>
                    <a:pt x="1177" y="575"/>
                  </a:lnTo>
                  <a:close/>
                  <a:moveTo>
                    <a:pt x="148" y="790"/>
                  </a:moveTo>
                  <a:lnTo>
                    <a:pt x="138" y="788"/>
                  </a:lnTo>
                  <a:lnTo>
                    <a:pt x="127" y="782"/>
                  </a:lnTo>
                  <a:lnTo>
                    <a:pt x="119" y="775"/>
                  </a:lnTo>
                  <a:lnTo>
                    <a:pt x="110" y="769"/>
                  </a:lnTo>
                  <a:lnTo>
                    <a:pt x="94" y="754"/>
                  </a:lnTo>
                  <a:lnTo>
                    <a:pt x="87" y="746"/>
                  </a:lnTo>
                  <a:lnTo>
                    <a:pt x="79" y="733"/>
                  </a:lnTo>
                  <a:lnTo>
                    <a:pt x="75" y="723"/>
                  </a:lnTo>
                  <a:lnTo>
                    <a:pt x="69" y="713"/>
                  </a:lnTo>
                  <a:lnTo>
                    <a:pt x="65" y="700"/>
                  </a:lnTo>
                  <a:lnTo>
                    <a:pt x="60" y="687"/>
                  </a:lnTo>
                  <a:lnTo>
                    <a:pt x="56" y="675"/>
                  </a:lnTo>
                  <a:lnTo>
                    <a:pt x="56" y="660"/>
                  </a:lnTo>
                  <a:lnTo>
                    <a:pt x="52" y="648"/>
                  </a:lnTo>
                  <a:lnTo>
                    <a:pt x="52" y="621"/>
                  </a:lnTo>
                  <a:lnTo>
                    <a:pt x="56" y="606"/>
                  </a:lnTo>
                  <a:lnTo>
                    <a:pt x="56" y="593"/>
                  </a:lnTo>
                  <a:lnTo>
                    <a:pt x="60" y="579"/>
                  </a:lnTo>
                  <a:lnTo>
                    <a:pt x="65" y="566"/>
                  </a:lnTo>
                  <a:lnTo>
                    <a:pt x="69" y="554"/>
                  </a:lnTo>
                  <a:lnTo>
                    <a:pt x="75" y="543"/>
                  </a:lnTo>
                  <a:lnTo>
                    <a:pt x="79" y="533"/>
                  </a:lnTo>
                  <a:lnTo>
                    <a:pt x="87" y="522"/>
                  </a:lnTo>
                  <a:lnTo>
                    <a:pt x="94" y="514"/>
                  </a:lnTo>
                  <a:lnTo>
                    <a:pt x="110" y="497"/>
                  </a:lnTo>
                  <a:lnTo>
                    <a:pt x="119" y="491"/>
                  </a:lnTo>
                  <a:lnTo>
                    <a:pt x="138" y="481"/>
                  </a:lnTo>
                  <a:lnTo>
                    <a:pt x="148" y="476"/>
                  </a:lnTo>
                  <a:lnTo>
                    <a:pt x="148" y="790"/>
                  </a:lnTo>
                  <a:close/>
                  <a:moveTo>
                    <a:pt x="263" y="577"/>
                  </a:moveTo>
                  <a:lnTo>
                    <a:pt x="267" y="520"/>
                  </a:lnTo>
                  <a:lnTo>
                    <a:pt x="269" y="493"/>
                  </a:lnTo>
                  <a:lnTo>
                    <a:pt x="271" y="470"/>
                  </a:lnTo>
                  <a:lnTo>
                    <a:pt x="277" y="445"/>
                  </a:lnTo>
                  <a:lnTo>
                    <a:pt x="282" y="422"/>
                  </a:lnTo>
                  <a:lnTo>
                    <a:pt x="286" y="401"/>
                  </a:lnTo>
                  <a:lnTo>
                    <a:pt x="294" y="380"/>
                  </a:lnTo>
                  <a:lnTo>
                    <a:pt x="298" y="359"/>
                  </a:lnTo>
                  <a:lnTo>
                    <a:pt x="307" y="341"/>
                  </a:lnTo>
                  <a:lnTo>
                    <a:pt x="315" y="322"/>
                  </a:lnTo>
                  <a:lnTo>
                    <a:pt x="323" y="305"/>
                  </a:lnTo>
                  <a:lnTo>
                    <a:pt x="332" y="291"/>
                  </a:lnTo>
                  <a:lnTo>
                    <a:pt x="342" y="276"/>
                  </a:lnTo>
                  <a:lnTo>
                    <a:pt x="355" y="261"/>
                  </a:lnTo>
                  <a:lnTo>
                    <a:pt x="365" y="249"/>
                  </a:lnTo>
                  <a:lnTo>
                    <a:pt x="378" y="236"/>
                  </a:lnTo>
                  <a:lnTo>
                    <a:pt x="390" y="224"/>
                  </a:lnTo>
                  <a:lnTo>
                    <a:pt x="403" y="213"/>
                  </a:lnTo>
                  <a:lnTo>
                    <a:pt x="415" y="205"/>
                  </a:lnTo>
                  <a:lnTo>
                    <a:pt x="430" y="196"/>
                  </a:lnTo>
                  <a:lnTo>
                    <a:pt x="463" y="182"/>
                  </a:lnTo>
                  <a:lnTo>
                    <a:pt x="496" y="171"/>
                  </a:lnTo>
                  <a:lnTo>
                    <a:pt x="515" y="167"/>
                  </a:lnTo>
                  <a:lnTo>
                    <a:pt x="555" y="163"/>
                  </a:lnTo>
                  <a:lnTo>
                    <a:pt x="576" y="161"/>
                  </a:lnTo>
                  <a:lnTo>
                    <a:pt x="617" y="161"/>
                  </a:lnTo>
                  <a:lnTo>
                    <a:pt x="638" y="163"/>
                  </a:lnTo>
                  <a:lnTo>
                    <a:pt x="657" y="163"/>
                  </a:lnTo>
                  <a:lnTo>
                    <a:pt x="676" y="167"/>
                  </a:lnTo>
                  <a:lnTo>
                    <a:pt x="695" y="171"/>
                  </a:lnTo>
                  <a:lnTo>
                    <a:pt x="728" y="180"/>
                  </a:lnTo>
                  <a:lnTo>
                    <a:pt x="745" y="188"/>
                  </a:lnTo>
                  <a:lnTo>
                    <a:pt x="759" y="194"/>
                  </a:lnTo>
                  <a:lnTo>
                    <a:pt x="776" y="203"/>
                  </a:lnTo>
                  <a:lnTo>
                    <a:pt x="789" y="211"/>
                  </a:lnTo>
                  <a:lnTo>
                    <a:pt x="824" y="245"/>
                  </a:lnTo>
                  <a:lnTo>
                    <a:pt x="837" y="259"/>
                  </a:lnTo>
                  <a:lnTo>
                    <a:pt x="847" y="272"/>
                  </a:lnTo>
                  <a:lnTo>
                    <a:pt x="855" y="286"/>
                  </a:lnTo>
                  <a:lnTo>
                    <a:pt x="864" y="303"/>
                  </a:lnTo>
                  <a:lnTo>
                    <a:pt x="880" y="336"/>
                  </a:lnTo>
                  <a:lnTo>
                    <a:pt x="887" y="357"/>
                  </a:lnTo>
                  <a:lnTo>
                    <a:pt x="893" y="376"/>
                  </a:lnTo>
                  <a:lnTo>
                    <a:pt x="899" y="397"/>
                  </a:lnTo>
                  <a:lnTo>
                    <a:pt x="903" y="418"/>
                  </a:lnTo>
                  <a:lnTo>
                    <a:pt x="912" y="466"/>
                  </a:lnTo>
                  <a:lnTo>
                    <a:pt x="918" y="518"/>
                  </a:lnTo>
                  <a:lnTo>
                    <a:pt x="922" y="575"/>
                  </a:lnTo>
                  <a:lnTo>
                    <a:pt x="922" y="635"/>
                  </a:lnTo>
                  <a:lnTo>
                    <a:pt x="922" y="696"/>
                  </a:lnTo>
                  <a:lnTo>
                    <a:pt x="918" y="752"/>
                  </a:lnTo>
                  <a:lnTo>
                    <a:pt x="912" y="805"/>
                  </a:lnTo>
                  <a:lnTo>
                    <a:pt x="907" y="827"/>
                  </a:lnTo>
                  <a:lnTo>
                    <a:pt x="903" y="853"/>
                  </a:lnTo>
                  <a:lnTo>
                    <a:pt x="899" y="873"/>
                  </a:lnTo>
                  <a:lnTo>
                    <a:pt x="893" y="894"/>
                  </a:lnTo>
                  <a:lnTo>
                    <a:pt x="887" y="915"/>
                  </a:lnTo>
                  <a:lnTo>
                    <a:pt x="880" y="934"/>
                  </a:lnTo>
                  <a:lnTo>
                    <a:pt x="864" y="970"/>
                  </a:lnTo>
                  <a:lnTo>
                    <a:pt x="855" y="986"/>
                  </a:lnTo>
                  <a:lnTo>
                    <a:pt x="847" y="999"/>
                  </a:lnTo>
                  <a:lnTo>
                    <a:pt x="837" y="1013"/>
                  </a:lnTo>
                  <a:lnTo>
                    <a:pt x="824" y="1026"/>
                  </a:lnTo>
                  <a:lnTo>
                    <a:pt x="801" y="1049"/>
                  </a:lnTo>
                  <a:lnTo>
                    <a:pt x="789" y="1059"/>
                  </a:lnTo>
                  <a:lnTo>
                    <a:pt x="776" y="1070"/>
                  </a:lnTo>
                  <a:lnTo>
                    <a:pt x="745" y="1082"/>
                  </a:lnTo>
                  <a:lnTo>
                    <a:pt x="728" y="1089"/>
                  </a:lnTo>
                  <a:lnTo>
                    <a:pt x="713" y="1095"/>
                  </a:lnTo>
                  <a:lnTo>
                    <a:pt x="695" y="1101"/>
                  </a:lnTo>
                  <a:lnTo>
                    <a:pt x="676" y="1105"/>
                  </a:lnTo>
                  <a:lnTo>
                    <a:pt x="657" y="1107"/>
                  </a:lnTo>
                  <a:lnTo>
                    <a:pt x="638" y="1110"/>
                  </a:lnTo>
                  <a:lnTo>
                    <a:pt x="617" y="1110"/>
                  </a:lnTo>
                  <a:lnTo>
                    <a:pt x="572" y="1110"/>
                  </a:lnTo>
                  <a:lnTo>
                    <a:pt x="528" y="1105"/>
                  </a:lnTo>
                  <a:lnTo>
                    <a:pt x="505" y="1101"/>
                  </a:lnTo>
                  <a:lnTo>
                    <a:pt x="486" y="1097"/>
                  </a:lnTo>
                  <a:lnTo>
                    <a:pt x="465" y="1091"/>
                  </a:lnTo>
                  <a:lnTo>
                    <a:pt x="448" y="1082"/>
                  </a:lnTo>
                  <a:lnTo>
                    <a:pt x="430" y="1074"/>
                  </a:lnTo>
                  <a:lnTo>
                    <a:pt x="413" y="1066"/>
                  </a:lnTo>
                  <a:lnTo>
                    <a:pt x="398" y="1053"/>
                  </a:lnTo>
                  <a:lnTo>
                    <a:pt x="382" y="1041"/>
                  </a:lnTo>
                  <a:lnTo>
                    <a:pt x="355" y="1013"/>
                  </a:lnTo>
                  <a:lnTo>
                    <a:pt x="342" y="999"/>
                  </a:lnTo>
                  <a:lnTo>
                    <a:pt x="332" y="982"/>
                  </a:lnTo>
                  <a:lnTo>
                    <a:pt x="323" y="963"/>
                  </a:lnTo>
                  <a:lnTo>
                    <a:pt x="442" y="963"/>
                  </a:lnTo>
                  <a:lnTo>
                    <a:pt x="446" y="974"/>
                  </a:lnTo>
                  <a:lnTo>
                    <a:pt x="451" y="982"/>
                  </a:lnTo>
                  <a:lnTo>
                    <a:pt x="459" y="990"/>
                  </a:lnTo>
                  <a:lnTo>
                    <a:pt x="465" y="997"/>
                  </a:lnTo>
                  <a:lnTo>
                    <a:pt x="476" y="1001"/>
                  </a:lnTo>
                  <a:lnTo>
                    <a:pt x="486" y="1005"/>
                  </a:lnTo>
                  <a:lnTo>
                    <a:pt x="496" y="1009"/>
                  </a:lnTo>
                  <a:lnTo>
                    <a:pt x="507" y="1009"/>
                  </a:lnTo>
                  <a:lnTo>
                    <a:pt x="588" y="1009"/>
                  </a:lnTo>
                  <a:lnTo>
                    <a:pt x="603" y="1009"/>
                  </a:lnTo>
                  <a:lnTo>
                    <a:pt x="615" y="1005"/>
                  </a:lnTo>
                  <a:lnTo>
                    <a:pt x="626" y="999"/>
                  </a:lnTo>
                  <a:lnTo>
                    <a:pt x="636" y="990"/>
                  </a:lnTo>
                  <a:lnTo>
                    <a:pt x="645" y="980"/>
                  </a:lnTo>
                  <a:lnTo>
                    <a:pt x="651" y="970"/>
                  </a:lnTo>
                  <a:lnTo>
                    <a:pt x="655" y="955"/>
                  </a:lnTo>
                  <a:lnTo>
                    <a:pt x="655" y="942"/>
                  </a:lnTo>
                  <a:lnTo>
                    <a:pt x="655" y="932"/>
                  </a:lnTo>
                  <a:lnTo>
                    <a:pt x="655" y="917"/>
                  </a:lnTo>
                  <a:lnTo>
                    <a:pt x="651" y="905"/>
                  </a:lnTo>
                  <a:lnTo>
                    <a:pt x="645" y="894"/>
                  </a:lnTo>
                  <a:lnTo>
                    <a:pt x="636" y="884"/>
                  </a:lnTo>
                  <a:lnTo>
                    <a:pt x="626" y="876"/>
                  </a:lnTo>
                  <a:lnTo>
                    <a:pt x="615" y="869"/>
                  </a:lnTo>
                  <a:lnTo>
                    <a:pt x="603" y="865"/>
                  </a:lnTo>
                  <a:lnTo>
                    <a:pt x="588" y="865"/>
                  </a:lnTo>
                  <a:lnTo>
                    <a:pt x="496" y="865"/>
                  </a:lnTo>
                  <a:lnTo>
                    <a:pt x="486" y="867"/>
                  </a:lnTo>
                  <a:lnTo>
                    <a:pt x="476" y="871"/>
                  </a:lnTo>
                  <a:lnTo>
                    <a:pt x="465" y="878"/>
                  </a:lnTo>
                  <a:lnTo>
                    <a:pt x="451" y="890"/>
                  </a:lnTo>
                  <a:lnTo>
                    <a:pt x="446" y="901"/>
                  </a:lnTo>
                  <a:lnTo>
                    <a:pt x="442" y="911"/>
                  </a:lnTo>
                  <a:lnTo>
                    <a:pt x="298" y="911"/>
                  </a:lnTo>
                  <a:lnTo>
                    <a:pt x="290" y="882"/>
                  </a:lnTo>
                  <a:lnTo>
                    <a:pt x="282" y="853"/>
                  </a:lnTo>
                  <a:lnTo>
                    <a:pt x="275" y="821"/>
                  </a:lnTo>
                  <a:lnTo>
                    <a:pt x="271" y="788"/>
                  </a:lnTo>
                  <a:lnTo>
                    <a:pt x="267" y="752"/>
                  </a:lnTo>
                  <a:lnTo>
                    <a:pt x="263" y="715"/>
                  </a:lnTo>
                  <a:lnTo>
                    <a:pt x="263" y="675"/>
                  </a:lnTo>
                  <a:lnTo>
                    <a:pt x="261" y="635"/>
                  </a:lnTo>
                  <a:lnTo>
                    <a:pt x="263" y="577"/>
                  </a:lnTo>
                  <a:close/>
                  <a:moveTo>
                    <a:pt x="1131" y="648"/>
                  </a:moveTo>
                  <a:lnTo>
                    <a:pt x="1127" y="660"/>
                  </a:lnTo>
                  <a:lnTo>
                    <a:pt x="1127" y="675"/>
                  </a:lnTo>
                  <a:lnTo>
                    <a:pt x="1122" y="687"/>
                  </a:lnTo>
                  <a:lnTo>
                    <a:pt x="1118" y="700"/>
                  </a:lnTo>
                  <a:lnTo>
                    <a:pt x="1114" y="713"/>
                  </a:lnTo>
                  <a:lnTo>
                    <a:pt x="1110" y="723"/>
                  </a:lnTo>
                  <a:lnTo>
                    <a:pt x="1104" y="733"/>
                  </a:lnTo>
                  <a:lnTo>
                    <a:pt x="1097" y="746"/>
                  </a:lnTo>
                  <a:lnTo>
                    <a:pt x="1089" y="754"/>
                  </a:lnTo>
                  <a:lnTo>
                    <a:pt x="1074" y="769"/>
                  </a:lnTo>
                  <a:lnTo>
                    <a:pt x="1066" y="775"/>
                  </a:lnTo>
                  <a:lnTo>
                    <a:pt x="1056" y="782"/>
                  </a:lnTo>
                  <a:lnTo>
                    <a:pt x="1045" y="788"/>
                  </a:lnTo>
                  <a:lnTo>
                    <a:pt x="1035" y="790"/>
                  </a:lnTo>
                  <a:lnTo>
                    <a:pt x="1035" y="476"/>
                  </a:lnTo>
                  <a:lnTo>
                    <a:pt x="1045" y="481"/>
                  </a:lnTo>
                  <a:lnTo>
                    <a:pt x="1066" y="491"/>
                  </a:lnTo>
                  <a:lnTo>
                    <a:pt x="1074" y="497"/>
                  </a:lnTo>
                  <a:lnTo>
                    <a:pt x="1089" y="514"/>
                  </a:lnTo>
                  <a:lnTo>
                    <a:pt x="1097" y="522"/>
                  </a:lnTo>
                  <a:lnTo>
                    <a:pt x="1104" y="533"/>
                  </a:lnTo>
                  <a:lnTo>
                    <a:pt x="1110" y="543"/>
                  </a:lnTo>
                  <a:lnTo>
                    <a:pt x="1114" y="554"/>
                  </a:lnTo>
                  <a:lnTo>
                    <a:pt x="1118" y="566"/>
                  </a:lnTo>
                  <a:lnTo>
                    <a:pt x="1122" y="579"/>
                  </a:lnTo>
                  <a:lnTo>
                    <a:pt x="1127" y="593"/>
                  </a:lnTo>
                  <a:lnTo>
                    <a:pt x="1127" y="606"/>
                  </a:lnTo>
                  <a:lnTo>
                    <a:pt x="1131" y="621"/>
                  </a:lnTo>
                  <a:lnTo>
                    <a:pt x="1131" y="648"/>
                  </a:lnTo>
                  <a:close/>
                </a:path>
              </a:pathLst>
            </a:custGeom>
            <a:grpFill/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</p:grpSp>
      <p:grpSp>
        <p:nvGrpSpPr>
          <p:cNvPr id="31" name="Group 27">
            <a:extLst>
              <a:ext uri="{FF2B5EF4-FFF2-40B4-BE49-F238E27FC236}">
                <a16:creationId xmlns:a16="http://schemas.microsoft.com/office/drawing/2014/main" id="{F9DA3704-2C53-41E2-BA4B-7D783C9F4B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067036" y="2190287"/>
            <a:ext cx="512483" cy="512483"/>
            <a:chOff x="3245" y="1564"/>
            <a:chExt cx="1186" cy="1186"/>
          </a:xfrm>
          <a:solidFill>
            <a:srgbClr val="7571A0"/>
          </a:solidFill>
        </p:grpSpPr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D3D15CBE-5FE2-4620-90F6-B59EA64F0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" y="2184"/>
              <a:ext cx="521" cy="522"/>
            </a:xfrm>
            <a:custGeom>
              <a:avLst/>
              <a:gdLst>
                <a:gd name="T0" fmla="*/ 198 w 250"/>
                <a:gd name="T1" fmla="*/ 69 h 250"/>
                <a:gd name="T2" fmla="*/ 200 w 250"/>
                <a:gd name="T3" fmla="*/ 63 h 250"/>
                <a:gd name="T4" fmla="*/ 211 w 250"/>
                <a:gd name="T5" fmla="*/ 52 h 250"/>
                <a:gd name="T6" fmla="*/ 218 w 250"/>
                <a:gd name="T7" fmla="*/ 49 h 250"/>
                <a:gd name="T8" fmla="*/ 231 w 250"/>
                <a:gd name="T9" fmla="*/ 44 h 250"/>
                <a:gd name="T10" fmla="*/ 231 w 250"/>
                <a:gd name="T11" fmla="*/ 19 h 250"/>
                <a:gd name="T12" fmla="*/ 206 w 250"/>
                <a:gd name="T13" fmla="*/ 19 h 250"/>
                <a:gd name="T14" fmla="*/ 201 w 250"/>
                <a:gd name="T15" fmla="*/ 32 h 250"/>
                <a:gd name="T16" fmla="*/ 199 w 250"/>
                <a:gd name="T17" fmla="*/ 39 h 250"/>
                <a:gd name="T18" fmla="*/ 188 w 250"/>
                <a:gd name="T19" fmla="*/ 50 h 250"/>
                <a:gd name="T20" fmla="*/ 175 w 250"/>
                <a:gd name="T21" fmla="*/ 50 h 250"/>
                <a:gd name="T22" fmla="*/ 125 w 250"/>
                <a:gd name="T23" fmla="*/ 0 h 250"/>
                <a:gd name="T24" fmla="*/ 82 w 250"/>
                <a:gd name="T25" fmla="*/ 44 h 250"/>
                <a:gd name="T26" fmla="*/ 84 w 250"/>
                <a:gd name="T27" fmla="*/ 46 h 250"/>
                <a:gd name="T28" fmla="*/ 107 w 250"/>
                <a:gd name="T29" fmla="*/ 56 h 250"/>
                <a:gd name="T30" fmla="*/ 117 w 250"/>
                <a:gd name="T31" fmla="*/ 81 h 250"/>
                <a:gd name="T32" fmla="*/ 107 w 250"/>
                <a:gd name="T33" fmla="*/ 106 h 250"/>
                <a:gd name="T34" fmla="*/ 57 w 250"/>
                <a:gd name="T35" fmla="*/ 106 h 250"/>
                <a:gd name="T36" fmla="*/ 46 w 250"/>
                <a:gd name="T37" fmla="*/ 84 h 250"/>
                <a:gd name="T38" fmla="*/ 44 w 250"/>
                <a:gd name="T39" fmla="*/ 81 h 250"/>
                <a:gd name="T40" fmla="*/ 0 w 250"/>
                <a:gd name="T41" fmla="*/ 125 h 250"/>
                <a:gd name="T42" fmla="*/ 50 w 250"/>
                <a:gd name="T43" fmla="*/ 175 h 250"/>
                <a:gd name="T44" fmla="*/ 50 w 250"/>
                <a:gd name="T45" fmla="*/ 187 h 250"/>
                <a:gd name="T46" fmla="*/ 39 w 250"/>
                <a:gd name="T47" fmla="*/ 199 h 250"/>
                <a:gd name="T48" fmla="*/ 33 w 250"/>
                <a:gd name="T49" fmla="*/ 201 h 250"/>
                <a:gd name="T50" fmla="*/ 19 w 250"/>
                <a:gd name="T51" fmla="*/ 206 h 250"/>
                <a:gd name="T52" fmla="*/ 19 w 250"/>
                <a:gd name="T53" fmla="*/ 231 h 250"/>
                <a:gd name="T54" fmla="*/ 44 w 250"/>
                <a:gd name="T55" fmla="*/ 231 h 250"/>
                <a:gd name="T56" fmla="*/ 49 w 250"/>
                <a:gd name="T57" fmla="*/ 218 h 250"/>
                <a:gd name="T58" fmla="*/ 52 w 250"/>
                <a:gd name="T59" fmla="*/ 211 h 250"/>
                <a:gd name="T60" fmla="*/ 63 w 250"/>
                <a:gd name="T61" fmla="*/ 200 h 250"/>
                <a:gd name="T62" fmla="*/ 75 w 250"/>
                <a:gd name="T63" fmla="*/ 200 h 250"/>
                <a:gd name="T64" fmla="*/ 125 w 250"/>
                <a:gd name="T65" fmla="*/ 250 h 250"/>
                <a:gd name="T66" fmla="*/ 166 w 250"/>
                <a:gd name="T67" fmla="*/ 209 h 250"/>
                <a:gd name="T68" fmla="*/ 150 w 250"/>
                <a:gd name="T69" fmla="*/ 200 h 250"/>
                <a:gd name="T70" fmla="*/ 140 w 250"/>
                <a:gd name="T71" fmla="*/ 175 h 250"/>
                <a:gd name="T72" fmla="*/ 150 w 250"/>
                <a:gd name="T73" fmla="*/ 150 h 250"/>
                <a:gd name="T74" fmla="*/ 200 w 250"/>
                <a:gd name="T75" fmla="*/ 150 h 250"/>
                <a:gd name="T76" fmla="*/ 209 w 250"/>
                <a:gd name="T77" fmla="*/ 166 h 250"/>
                <a:gd name="T78" fmla="*/ 250 w 250"/>
                <a:gd name="T79" fmla="*/ 125 h 250"/>
                <a:gd name="T80" fmla="*/ 200 w 250"/>
                <a:gd name="T81" fmla="*/ 75 h 250"/>
                <a:gd name="T82" fmla="*/ 198 w 250"/>
                <a:gd name="T83" fmla="*/ 6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0" h="250">
                  <a:moveTo>
                    <a:pt x="198" y="69"/>
                  </a:moveTo>
                  <a:cubicBezTo>
                    <a:pt x="198" y="67"/>
                    <a:pt x="198" y="64"/>
                    <a:pt x="200" y="6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213" y="50"/>
                    <a:pt x="216" y="49"/>
                    <a:pt x="218" y="49"/>
                  </a:cubicBezTo>
                  <a:cubicBezTo>
                    <a:pt x="223" y="49"/>
                    <a:pt x="228" y="47"/>
                    <a:pt x="231" y="44"/>
                  </a:cubicBezTo>
                  <a:cubicBezTo>
                    <a:pt x="238" y="37"/>
                    <a:pt x="238" y="26"/>
                    <a:pt x="231" y="19"/>
                  </a:cubicBezTo>
                  <a:cubicBezTo>
                    <a:pt x="224" y="12"/>
                    <a:pt x="213" y="12"/>
                    <a:pt x="206" y="19"/>
                  </a:cubicBezTo>
                  <a:cubicBezTo>
                    <a:pt x="203" y="23"/>
                    <a:pt x="201" y="27"/>
                    <a:pt x="201" y="32"/>
                  </a:cubicBezTo>
                  <a:cubicBezTo>
                    <a:pt x="202" y="35"/>
                    <a:pt x="201" y="37"/>
                    <a:pt x="199" y="39"/>
                  </a:cubicBezTo>
                  <a:cubicBezTo>
                    <a:pt x="188" y="50"/>
                    <a:pt x="188" y="50"/>
                    <a:pt x="188" y="50"/>
                  </a:cubicBezTo>
                  <a:cubicBezTo>
                    <a:pt x="184" y="54"/>
                    <a:pt x="179" y="54"/>
                    <a:pt x="175" y="5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92" y="47"/>
                    <a:pt x="101" y="50"/>
                    <a:pt x="107" y="56"/>
                  </a:cubicBezTo>
                  <a:cubicBezTo>
                    <a:pt x="113" y="63"/>
                    <a:pt x="117" y="72"/>
                    <a:pt x="117" y="81"/>
                  </a:cubicBezTo>
                  <a:cubicBezTo>
                    <a:pt x="117" y="91"/>
                    <a:pt x="113" y="100"/>
                    <a:pt x="107" y="106"/>
                  </a:cubicBezTo>
                  <a:cubicBezTo>
                    <a:pt x="93" y="120"/>
                    <a:pt x="70" y="120"/>
                    <a:pt x="57" y="106"/>
                  </a:cubicBezTo>
                  <a:cubicBezTo>
                    <a:pt x="51" y="100"/>
                    <a:pt x="47" y="92"/>
                    <a:pt x="46" y="84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4" y="178"/>
                    <a:pt x="54" y="184"/>
                    <a:pt x="50" y="187"/>
                  </a:cubicBezTo>
                  <a:cubicBezTo>
                    <a:pt x="39" y="199"/>
                    <a:pt x="39" y="199"/>
                    <a:pt x="39" y="199"/>
                  </a:cubicBezTo>
                  <a:cubicBezTo>
                    <a:pt x="38" y="200"/>
                    <a:pt x="35" y="201"/>
                    <a:pt x="33" y="201"/>
                  </a:cubicBezTo>
                  <a:cubicBezTo>
                    <a:pt x="27" y="201"/>
                    <a:pt x="23" y="203"/>
                    <a:pt x="19" y="206"/>
                  </a:cubicBezTo>
                  <a:cubicBezTo>
                    <a:pt x="12" y="213"/>
                    <a:pt x="12" y="224"/>
                    <a:pt x="19" y="231"/>
                  </a:cubicBezTo>
                  <a:cubicBezTo>
                    <a:pt x="26" y="238"/>
                    <a:pt x="37" y="238"/>
                    <a:pt x="44" y="231"/>
                  </a:cubicBezTo>
                  <a:cubicBezTo>
                    <a:pt x="48" y="228"/>
                    <a:pt x="49" y="223"/>
                    <a:pt x="49" y="218"/>
                  </a:cubicBezTo>
                  <a:cubicBezTo>
                    <a:pt x="49" y="215"/>
                    <a:pt x="50" y="213"/>
                    <a:pt x="52" y="211"/>
                  </a:cubicBezTo>
                  <a:cubicBezTo>
                    <a:pt x="63" y="200"/>
                    <a:pt x="63" y="200"/>
                    <a:pt x="63" y="200"/>
                  </a:cubicBezTo>
                  <a:cubicBezTo>
                    <a:pt x="66" y="197"/>
                    <a:pt x="72" y="197"/>
                    <a:pt x="75" y="200"/>
                  </a:cubicBezTo>
                  <a:cubicBezTo>
                    <a:pt x="125" y="250"/>
                    <a:pt x="125" y="250"/>
                    <a:pt x="125" y="250"/>
                  </a:cubicBezTo>
                  <a:cubicBezTo>
                    <a:pt x="166" y="209"/>
                    <a:pt x="166" y="209"/>
                    <a:pt x="166" y="209"/>
                  </a:cubicBezTo>
                  <a:cubicBezTo>
                    <a:pt x="160" y="207"/>
                    <a:pt x="155" y="204"/>
                    <a:pt x="150" y="200"/>
                  </a:cubicBezTo>
                  <a:cubicBezTo>
                    <a:pt x="144" y="193"/>
                    <a:pt x="140" y="184"/>
                    <a:pt x="140" y="175"/>
                  </a:cubicBezTo>
                  <a:cubicBezTo>
                    <a:pt x="140" y="166"/>
                    <a:pt x="144" y="157"/>
                    <a:pt x="150" y="150"/>
                  </a:cubicBezTo>
                  <a:cubicBezTo>
                    <a:pt x="164" y="137"/>
                    <a:pt x="187" y="137"/>
                    <a:pt x="200" y="150"/>
                  </a:cubicBezTo>
                  <a:cubicBezTo>
                    <a:pt x="205" y="154"/>
                    <a:pt x="208" y="160"/>
                    <a:pt x="209" y="166"/>
                  </a:cubicBezTo>
                  <a:cubicBezTo>
                    <a:pt x="250" y="125"/>
                    <a:pt x="250" y="125"/>
                    <a:pt x="250" y="125"/>
                  </a:cubicBezTo>
                  <a:cubicBezTo>
                    <a:pt x="200" y="75"/>
                    <a:pt x="200" y="75"/>
                    <a:pt x="200" y="75"/>
                  </a:cubicBezTo>
                  <a:cubicBezTo>
                    <a:pt x="198" y="74"/>
                    <a:pt x="198" y="71"/>
                    <a:pt x="198" y="69"/>
                  </a:cubicBezTo>
                  <a:close/>
                </a:path>
              </a:pathLst>
            </a:custGeom>
            <a:grpFill/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4" name="Freeform 29">
              <a:extLst>
                <a:ext uri="{FF2B5EF4-FFF2-40B4-BE49-F238E27FC236}">
                  <a16:creationId xmlns:a16="http://schemas.microsoft.com/office/drawing/2014/main" id="{CABDB3B8-DB28-42F8-8BAC-C2E9EA37C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" y="1612"/>
              <a:ext cx="521" cy="520"/>
            </a:xfrm>
            <a:custGeom>
              <a:avLst/>
              <a:gdLst>
                <a:gd name="T0" fmla="*/ 53 w 250"/>
                <a:gd name="T1" fmla="*/ 181 h 249"/>
                <a:gd name="T2" fmla="*/ 50 w 250"/>
                <a:gd name="T3" fmla="*/ 187 h 249"/>
                <a:gd name="T4" fmla="*/ 39 w 250"/>
                <a:gd name="T5" fmla="*/ 198 h 249"/>
                <a:gd name="T6" fmla="*/ 33 w 250"/>
                <a:gd name="T7" fmla="*/ 201 h 249"/>
                <a:gd name="T8" fmla="*/ 32 w 250"/>
                <a:gd name="T9" fmla="*/ 201 h 249"/>
                <a:gd name="T10" fmla="*/ 19 w 250"/>
                <a:gd name="T11" fmla="*/ 206 h 249"/>
                <a:gd name="T12" fmla="*/ 19 w 250"/>
                <a:gd name="T13" fmla="*/ 231 h 249"/>
                <a:gd name="T14" fmla="*/ 44 w 250"/>
                <a:gd name="T15" fmla="*/ 231 h 249"/>
                <a:gd name="T16" fmla="*/ 49 w 250"/>
                <a:gd name="T17" fmla="*/ 217 h 249"/>
                <a:gd name="T18" fmla="*/ 52 w 250"/>
                <a:gd name="T19" fmla="*/ 210 h 249"/>
                <a:gd name="T20" fmla="*/ 63 w 250"/>
                <a:gd name="T21" fmla="*/ 199 h 249"/>
                <a:gd name="T22" fmla="*/ 69 w 250"/>
                <a:gd name="T23" fmla="*/ 197 h 249"/>
                <a:gd name="T24" fmla="*/ 75 w 250"/>
                <a:gd name="T25" fmla="*/ 199 h 249"/>
                <a:gd name="T26" fmla="*/ 125 w 250"/>
                <a:gd name="T27" fmla="*/ 249 h 249"/>
                <a:gd name="T28" fmla="*/ 166 w 250"/>
                <a:gd name="T29" fmla="*/ 208 h 249"/>
                <a:gd name="T30" fmla="*/ 150 w 250"/>
                <a:gd name="T31" fmla="*/ 199 h 249"/>
                <a:gd name="T32" fmla="*/ 150 w 250"/>
                <a:gd name="T33" fmla="*/ 149 h 249"/>
                <a:gd name="T34" fmla="*/ 200 w 250"/>
                <a:gd name="T35" fmla="*/ 149 h 249"/>
                <a:gd name="T36" fmla="*/ 209 w 250"/>
                <a:gd name="T37" fmla="*/ 165 h 249"/>
                <a:gd name="T38" fmla="*/ 250 w 250"/>
                <a:gd name="T39" fmla="*/ 124 h 249"/>
                <a:gd name="T40" fmla="*/ 200 w 250"/>
                <a:gd name="T41" fmla="*/ 75 h 249"/>
                <a:gd name="T42" fmla="*/ 200 w 250"/>
                <a:gd name="T43" fmla="*/ 62 h 249"/>
                <a:gd name="T44" fmla="*/ 211 w 250"/>
                <a:gd name="T45" fmla="*/ 51 h 249"/>
                <a:gd name="T46" fmla="*/ 218 w 250"/>
                <a:gd name="T47" fmla="*/ 48 h 249"/>
                <a:gd name="T48" fmla="*/ 219 w 250"/>
                <a:gd name="T49" fmla="*/ 48 h 249"/>
                <a:gd name="T50" fmla="*/ 231 w 250"/>
                <a:gd name="T51" fmla="*/ 43 h 249"/>
                <a:gd name="T52" fmla="*/ 231 w 250"/>
                <a:gd name="T53" fmla="*/ 18 h 249"/>
                <a:gd name="T54" fmla="*/ 206 w 250"/>
                <a:gd name="T55" fmla="*/ 18 h 249"/>
                <a:gd name="T56" fmla="*/ 201 w 250"/>
                <a:gd name="T57" fmla="*/ 32 h 249"/>
                <a:gd name="T58" fmla="*/ 199 w 250"/>
                <a:gd name="T59" fmla="*/ 38 h 249"/>
                <a:gd name="T60" fmla="*/ 188 w 250"/>
                <a:gd name="T61" fmla="*/ 50 h 249"/>
                <a:gd name="T62" fmla="*/ 175 w 250"/>
                <a:gd name="T63" fmla="*/ 50 h 249"/>
                <a:gd name="T64" fmla="*/ 125 w 250"/>
                <a:gd name="T65" fmla="*/ 0 h 249"/>
                <a:gd name="T66" fmla="*/ 84 w 250"/>
                <a:gd name="T67" fmla="*/ 40 h 249"/>
                <a:gd name="T68" fmla="*/ 100 w 250"/>
                <a:gd name="T69" fmla="*/ 50 h 249"/>
                <a:gd name="T70" fmla="*/ 111 w 250"/>
                <a:gd name="T71" fmla="*/ 75 h 249"/>
                <a:gd name="T72" fmla="*/ 100 w 250"/>
                <a:gd name="T73" fmla="*/ 100 h 249"/>
                <a:gd name="T74" fmla="*/ 50 w 250"/>
                <a:gd name="T75" fmla="*/ 100 h 249"/>
                <a:gd name="T76" fmla="*/ 41 w 250"/>
                <a:gd name="T77" fmla="*/ 84 h 249"/>
                <a:gd name="T78" fmla="*/ 0 w 250"/>
                <a:gd name="T79" fmla="*/ 124 h 249"/>
                <a:gd name="T80" fmla="*/ 50 w 250"/>
                <a:gd name="T81" fmla="*/ 174 h 249"/>
                <a:gd name="T82" fmla="*/ 53 w 250"/>
                <a:gd name="T83" fmla="*/ 181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0" h="249">
                  <a:moveTo>
                    <a:pt x="53" y="181"/>
                  </a:moveTo>
                  <a:cubicBezTo>
                    <a:pt x="53" y="183"/>
                    <a:pt x="52" y="185"/>
                    <a:pt x="50" y="187"/>
                  </a:cubicBezTo>
                  <a:cubicBezTo>
                    <a:pt x="39" y="198"/>
                    <a:pt x="39" y="198"/>
                    <a:pt x="39" y="198"/>
                  </a:cubicBezTo>
                  <a:cubicBezTo>
                    <a:pt x="38" y="200"/>
                    <a:pt x="35" y="201"/>
                    <a:pt x="33" y="201"/>
                  </a:cubicBezTo>
                  <a:cubicBezTo>
                    <a:pt x="32" y="201"/>
                    <a:pt x="32" y="201"/>
                    <a:pt x="32" y="201"/>
                  </a:cubicBezTo>
                  <a:cubicBezTo>
                    <a:pt x="27" y="201"/>
                    <a:pt x="22" y="202"/>
                    <a:pt x="19" y="206"/>
                  </a:cubicBezTo>
                  <a:cubicBezTo>
                    <a:pt x="12" y="212"/>
                    <a:pt x="12" y="224"/>
                    <a:pt x="19" y="231"/>
                  </a:cubicBezTo>
                  <a:cubicBezTo>
                    <a:pt x="26" y="237"/>
                    <a:pt x="37" y="237"/>
                    <a:pt x="44" y="231"/>
                  </a:cubicBezTo>
                  <a:cubicBezTo>
                    <a:pt x="48" y="227"/>
                    <a:pt x="49" y="222"/>
                    <a:pt x="49" y="217"/>
                  </a:cubicBezTo>
                  <a:cubicBezTo>
                    <a:pt x="49" y="215"/>
                    <a:pt x="50" y="212"/>
                    <a:pt x="52" y="21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4" y="198"/>
                    <a:pt x="67" y="197"/>
                    <a:pt x="69" y="197"/>
                  </a:cubicBezTo>
                  <a:cubicBezTo>
                    <a:pt x="71" y="197"/>
                    <a:pt x="74" y="198"/>
                    <a:pt x="75" y="199"/>
                  </a:cubicBezTo>
                  <a:cubicBezTo>
                    <a:pt x="125" y="249"/>
                    <a:pt x="125" y="249"/>
                    <a:pt x="125" y="249"/>
                  </a:cubicBezTo>
                  <a:cubicBezTo>
                    <a:pt x="166" y="208"/>
                    <a:pt x="166" y="208"/>
                    <a:pt x="166" y="208"/>
                  </a:cubicBezTo>
                  <a:cubicBezTo>
                    <a:pt x="160" y="207"/>
                    <a:pt x="155" y="204"/>
                    <a:pt x="150" y="199"/>
                  </a:cubicBezTo>
                  <a:cubicBezTo>
                    <a:pt x="136" y="186"/>
                    <a:pt x="136" y="163"/>
                    <a:pt x="150" y="149"/>
                  </a:cubicBezTo>
                  <a:cubicBezTo>
                    <a:pt x="164" y="136"/>
                    <a:pt x="187" y="136"/>
                    <a:pt x="200" y="149"/>
                  </a:cubicBezTo>
                  <a:cubicBezTo>
                    <a:pt x="205" y="154"/>
                    <a:pt x="208" y="159"/>
                    <a:pt x="209" y="165"/>
                  </a:cubicBezTo>
                  <a:cubicBezTo>
                    <a:pt x="250" y="124"/>
                    <a:pt x="250" y="124"/>
                    <a:pt x="250" y="124"/>
                  </a:cubicBezTo>
                  <a:cubicBezTo>
                    <a:pt x="200" y="75"/>
                    <a:pt x="200" y="75"/>
                    <a:pt x="200" y="75"/>
                  </a:cubicBezTo>
                  <a:cubicBezTo>
                    <a:pt x="197" y="71"/>
                    <a:pt x="197" y="66"/>
                    <a:pt x="200" y="62"/>
                  </a:cubicBezTo>
                  <a:cubicBezTo>
                    <a:pt x="211" y="51"/>
                    <a:pt x="211" y="51"/>
                    <a:pt x="211" y="51"/>
                  </a:cubicBezTo>
                  <a:cubicBezTo>
                    <a:pt x="213" y="49"/>
                    <a:pt x="215" y="48"/>
                    <a:pt x="218" y="48"/>
                  </a:cubicBezTo>
                  <a:cubicBezTo>
                    <a:pt x="219" y="48"/>
                    <a:pt x="219" y="48"/>
                    <a:pt x="219" y="48"/>
                  </a:cubicBezTo>
                  <a:cubicBezTo>
                    <a:pt x="224" y="48"/>
                    <a:pt x="228" y="47"/>
                    <a:pt x="231" y="43"/>
                  </a:cubicBezTo>
                  <a:cubicBezTo>
                    <a:pt x="238" y="36"/>
                    <a:pt x="238" y="25"/>
                    <a:pt x="231" y="18"/>
                  </a:cubicBezTo>
                  <a:cubicBezTo>
                    <a:pt x="225" y="12"/>
                    <a:pt x="213" y="12"/>
                    <a:pt x="206" y="18"/>
                  </a:cubicBezTo>
                  <a:cubicBezTo>
                    <a:pt x="203" y="22"/>
                    <a:pt x="201" y="27"/>
                    <a:pt x="201" y="32"/>
                  </a:cubicBezTo>
                  <a:cubicBezTo>
                    <a:pt x="202" y="34"/>
                    <a:pt x="201" y="37"/>
                    <a:pt x="199" y="38"/>
                  </a:cubicBezTo>
                  <a:cubicBezTo>
                    <a:pt x="188" y="50"/>
                    <a:pt x="188" y="50"/>
                    <a:pt x="188" y="50"/>
                  </a:cubicBezTo>
                  <a:cubicBezTo>
                    <a:pt x="184" y="53"/>
                    <a:pt x="179" y="53"/>
                    <a:pt x="175" y="5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90" y="42"/>
                    <a:pt x="96" y="45"/>
                    <a:pt x="100" y="50"/>
                  </a:cubicBezTo>
                  <a:cubicBezTo>
                    <a:pt x="107" y="56"/>
                    <a:pt x="111" y="65"/>
                    <a:pt x="111" y="75"/>
                  </a:cubicBezTo>
                  <a:cubicBezTo>
                    <a:pt x="111" y="84"/>
                    <a:pt x="107" y="93"/>
                    <a:pt x="100" y="100"/>
                  </a:cubicBezTo>
                  <a:cubicBezTo>
                    <a:pt x="87" y="113"/>
                    <a:pt x="64" y="113"/>
                    <a:pt x="50" y="100"/>
                  </a:cubicBezTo>
                  <a:cubicBezTo>
                    <a:pt x="46" y="95"/>
                    <a:pt x="43" y="90"/>
                    <a:pt x="41" y="8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2" y="176"/>
                    <a:pt x="53" y="178"/>
                    <a:pt x="53" y="181"/>
                  </a:cubicBezTo>
                  <a:close/>
                </a:path>
              </a:pathLst>
            </a:custGeom>
            <a:grpFill/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02359FCC-76E5-4058-8B35-40271C9B6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1" y="1898"/>
              <a:ext cx="521" cy="522"/>
            </a:xfrm>
            <a:custGeom>
              <a:avLst/>
              <a:gdLst>
                <a:gd name="T0" fmla="*/ 187 w 250"/>
                <a:gd name="T1" fmla="*/ 200 h 250"/>
                <a:gd name="T2" fmla="*/ 198 w 250"/>
                <a:gd name="T3" fmla="*/ 211 h 250"/>
                <a:gd name="T4" fmla="*/ 201 w 250"/>
                <a:gd name="T5" fmla="*/ 217 h 250"/>
                <a:gd name="T6" fmla="*/ 206 w 250"/>
                <a:gd name="T7" fmla="*/ 231 h 250"/>
                <a:gd name="T8" fmla="*/ 231 w 250"/>
                <a:gd name="T9" fmla="*/ 231 h 250"/>
                <a:gd name="T10" fmla="*/ 231 w 250"/>
                <a:gd name="T11" fmla="*/ 206 h 250"/>
                <a:gd name="T12" fmla="*/ 218 w 250"/>
                <a:gd name="T13" fmla="*/ 201 h 250"/>
                <a:gd name="T14" fmla="*/ 211 w 250"/>
                <a:gd name="T15" fmla="*/ 198 h 250"/>
                <a:gd name="T16" fmla="*/ 200 w 250"/>
                <a:gd name="T17" fmla="*/ 187 h 250"/>
                <a:gd name="T18" fmla="*/ 197 w 250"/>
                <a:gd name="T19" fmla="*/ 181 h 250"/>
                <a:gd name="T20" fmla="*/ 200 w 250"/>
                <a:gd name="T21" fmla="*/ 175 h 250"/>
                <a:gd name="T22" fmla="*/ 250 w 250"/>
                <a:gd name="T23" fmla="*/ 125 h 250"/>
                <a:gd name="T24" fmla="*/ 206 w 250"/>
                <a:gd name="T25" fmla="*/ 81 h 250"/>
                <a:gd name="T26" fmla="*/ 204 w 250"/>
                <a:gd name="T27" fmla="*/ 83 h 250"/>
                <a:gd name="T28" fmla="*/ 194 w 250"/>
                <a:gd name="T29" fmla="*/ 106 h 250"/>
                <a:gd name="T30" fmla="*/ 144 w 250"/>
                <a:gd name="T31" fmla="*/ 106 h 250"/>
                <a:gd name="T32" fmla="*/ 144 w 250"/>
                <a:gd name="T33" fmla="*/ 56 h 250"/>
                <a:gd name="T34" fmla="*/ 166 w 250"/>
                <a:gd name="T35" fmla="*/ 46 h 250"/>
                <a:gd name="T36" fmla="*/ 169 w 250"/>
                <a:gd name="T37" fmla="*/ 44 h 250"/>
                <a:gd name="T38" fmla="*/ 125 w 250"/>
                <a:gd name="T39" fmla="*/ 0 h 250"/>
                <a:gd name="T40" fmla="*/ 75 w 250"/>
                <a:gd name="T41" fmla="*/ 50 h 250"/>
                <a:gd name="T42" fmla="*/ 69 w 250"/>
                <a:gd name="T43" fmla="*/ 52 h 250"/>
                <a:gd name="T44" fmla="*/ 63 w 250"/>
                <a:gd name="T45" fmla="*/ 50 h 250"/>
                <a:gd name="T46" fmla="*/ 51 w 250"/>
                <a:gd name="T47" fmla="*/ 39 h 250"/>
                <a:gd name="T48" fmla="*/ 49 w 250"/>
                <a:gd name="T49" fmla="*/ 32 h 250"/>
                <a:gd name="T50" fmla="*/ 44 w 250"/>
                <a:gd name="T51" fmla="*/ 19 h 250"/>
                <a:gd name="T52" fmla="*/ 19 w 250"/>
                <a:gd name="T53" fmla="*/ 19 h 250"/>
                <a:gd name="T54" fmla="*/ 14 w 250"/>
                <a:gd name="T55" fmla="*/ 31 h 250"/>
                <a:gd name="T56" fmla="*/ 19 w 250"/>
                <a:gd name="T57" fmla="*/ 44 h 250"/>
                <a:gd name="T58" fmla="*/ 32 w 250"/>
                <a:gd name="T59" fmla="*/ 49 h 250"/>
                <a:gd name="T60" fmla="*/ 39 w 250"/>
                <a:gd name="T61" fmla="*/ 51 h 250"/>
                <a:gd name="T62" fmla="*/ 50 w 250"/>
                <a:gd name="T63" fmla="*/ 62 h 250"/>
                <a:gd name="T64" fmla="*/ 50 w 250"/>
                <a:gd name="T65" fmla="*/ 75 h 250"/>
                <a:gd name="T66" fmla="*/ 0 w 250"/>
                <a:gd name="T67" fmla="*/ 125 h 250"/>
                <a:gd name="T68" fmla="*/ 41 w 250"/>
                <a:gd name="T69" fmla="*/ 166 h 250"/>
                <a:gd name="T70" fmla="*/ 50 w 250"/>
                <a:gd name="T71" fmla="*/ 150 h 250"/>
                <a:gd name="T72" fmla="*/ 100 w 250"/>
                <a:gd name="T73" fmla="*/ 150 h 250"/>
                <a:gd name="T74" fmla="*/ 110 w 250"/>
                <a:gd name="T75" fmla="*/ 175 h 250"/>
                <a:gd name="T76" fmla="*/ 100 w 250"/>
                <a:gd name="T77" fmla="*/ 200 h 250"/>
                <a:gd name="T78" fmla="*/ 84 w 250"/>
                <a:gd name="T79" fmla="*/ 209 h 250"/>
                <a:gd name="T80" fmla="*/ 125 w 250"/>
                <a:gd name="T81" fmla="*/ 250 h 250"/>
                <a:gd name="T82" fmla="*/ 175 w 250"/>
                <a:gd name="T83" fmla="*/ 200 h 250"/>
                <a:gd name="T84" fmla="*/ 187 w 250"/>
                <a:gd name="T85" fmla="*/ 20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0" h="250">
                  <a:moveTo>
                    <a:pt x="187" y="200"/>
                  </a:moveTo>
                  <a:cubicBezTo>
                    <a:pt x="198" y="211"/>
                    <a:pt x="198" y="211"/>
                    <a:pt x="198" y="211"/>
                  </a:cubicBezTo>
                  <a:cubicBezTo>
                    <a:pt x="200" y="213"/>
                    <a:pt x="201" y="215"/>
                    <a:pt x="201" y="217"/>
                  </a:cubicBezTo>
                  <a:cubicBezTo>
                    <a:pt x="201" y="223"/>
                    <a:pt x="203" y="227"/>
                    <a:pt x="206" y="231"/>
                  </a:cubicBezTo>
                  <a:cubicBezTo>
                    <a:pt x="213" y="238"/>
                    <a:pt x="224" y="238"/>
                    <a:pt x="231" y="231"/>
                  </a:cubicBezTo>
                  <a:cubicBezTo>
                    <a:pt x="238" y="224"/>
                    <a:pt x="238" y="213"/>
                    <a:pt x="231" y="206"/>
                  </a:cubicBezTo>
                  <a:cubicBezTo>
                    <a:pt x="228" y="202"/>
                    <a:pt x="223" y="201"/>
                    <a:pt x="218" y="201"/>
                  </a:cubicBezTo>
                  <a:cubicBezTo>
                    <a:pt x="215" y="201"/>
                    <a:pt x="213" y="200"/>
                    <a:pt x="211" y="198"/>
                  </a:cubicBezTo>
                  <a:cubicBezTo>
                    <a:pt x="200" y="187"/>
                    <a:pt x="200" y="187"/>
                    <a:pt x="200" y="187"/>
                  </a:cubicBezTo>
                  <a:cubicBezTo>
                    <a:pt x="198" y="186"/>
                    <a:pt x="197" y="183"/>
                    <a:pt x="197" y="181"/>
                  </a:cubicBezTo>
                  <a:cubicBezTo>
                    <a:pt x="197" y="179"/>
                    <a:pt x="198" y="176"/>
                    <a:pt x="200" y="175"/>
                  </a:cubicBezTo>
                  <a:cubicBezTo>
                    <a:pt x="250" y="125"/>
                    <a:pt x="250" y="125"/>
                    <a:pt x="250" y="125"/>
                  </a:cubicBezTo>
                  <a:cubicBezTo>
                    <a:pt x="206" y="81"/>
                    <a:pt x="206" y="81"/>
                    <a:pt x="206" y="81"/>
                  </a:cubicBezTo>
                  <a:cubicBezTo>
                    <a:pt x="204" y="83"/>
                    <a:pt x="204" y="83"/>
                    <a:pt x="204" y="83"/>
                  </a:cubicBezTo>
                  <a:cubicBezTo>
                    <a:pt x="203" y="92"/>
                    <a:pt x="200" y="100"/>
                    <a:pt x="194" y="106"/>
                  </a:cubicBezTo>
                  <a:cubicBezTo>
                    <a:pt x="180" y="119"/>
                    <a:pt x="157" y="119"/>
                    <a:pt x="144" y="106"/>
                  </a:cubicBezTo>
                  <a:cubicBezTo>
                    <a:pt x="130" y="92"/>
                    <a:pt x="130" y="70"/>
                    <a:pt x="144" y="56"/>
                  </a:cubicBezTo>
                  <a:cubicBezTo>
                    <a:pt x="150" y="50"/>
                    <a:pt x="158" y="46"/>
                    <a:pt x="166" y="46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3" y="52"/>
                    <a:pt x="71" y="52"/>
                    <a:pt x="69" y="52"/>
                  </a:cubicBezTo>
                  <a:cubicBezTo>
                    <a:pt x="66" y="52"/>
                    <a:pt x="64" y="52"/>
                    <a:pt x="63" y="50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0" y="37"/>
                    <a:pt x="49" y="35"/>
                    <a:pt x="49" y="32"/>
                  </a:cubicBezTo>
                  <a:cubicBezTo>
                    <a:pt x="49" y="27"/>
                    <a:pt x="47" y="22"/>
                    <a:pt x="44" y="19"/>
                  </a:cubicBezTo>
                  <a:cubicBezTo>
                    <a:pt x="37" y="12"/>
                    <a:pt x="26" y="12"/>
                    <a:pt x="19" y="19"/>
                  </a:cubicBezTo>
                  <a:cubicBezTo>
                    <a:pt x="16" y="22"/>
                    <a:pt x="14" y="26"/>
                    <a:pt x="14" y="31"/>
                  </a:cubicBezTo>
                  <a:cubicBezTo>
                    <a:pt x="14" y="36"/>
                    <a:pt x="16" y="40"/>
                    <a:pt x="19" y="44"/>
                  </a:cubicBezTo>
                  <a:cubicBezTo>
                    <a:pt x="22" y="47"/>
                    <a:pt x="27" y="49"/>
                    <a:pt x="32" y="49"/>
                  </a:cubicBezTo>
                  <a:cubicBezTo>
                    <a:pt x="35" y="49"/>
                    <a:pt x="37" y="49"/>
                    <a:pt x="39" y="51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54" y="66"/>
                    <a:pt x="54" y="71"/>
                    <a:pt x="50" y="7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41" y="166"/>
                    <a:pt x="41" y="166"/>
                    <a:pt x="41" y="166"/>
                  </a:cubicBezTo>
                  <a:cubicBezTo>
                    <a:pt x="43" y="160"/>
                    <a:pt x="46" y="154"/>
                    <a:pt x="50" y="150"/>
                  </a:cubicBezTo>
                  <a:cubicBezTo>
                    <a:pt x="64" y="136"/>
                    <a:pt x="86" y="136"/>
                    <a:pt x="100" y="150"/>
                  </a:cubicBezTo>
                  <a:cubicBezTo>
                    <a:pt x="107" y="156"/>
                    <a:pt x="110" y="165"/>
                    <a:pt x="110" y="175"/>
                  </a:cubicBezTo>
                  <a:cubicBezTo>
                    <a:pt x="110" y="184"/>
                    <a:pt x="107" y="193"/>
                    <a:pt x="100" y="200"/>
                  </a:cubicBezTo>
                  <a:cubicBezTo>
                    <a:pt x="96" y="204"/>
                    <a:pt x="90" y="207"/>
                    <a:pt x="84" y="209"/>
                  </a:cubicBezTo>
                  <a:cubicBezTo>
                    <a:pt x="125" y="250"/>
                    <a:pt x="125" y="250"/>
                    <a:pt x="125" y="250"/>
                  </a:cubicBezTo>
                  <a:cubicBezTo>
                    <a:pt x="175" y="200"/>
                    <a:pt x="175" y="200"/>
                    <a:pt x="175" y="200"/>
                  </a:cubicBezTo>
                  <a:cubicBezTo>
                    <a:pt x="178" y="196"/>
                    <a:pt x="184" y="196"/>
                    <a:pt x="187" y="200"/>
                  </a:cubicBezTo>
                  <a:close/>
                </a:path>
              </a:pathLst>
            </a:custGeom>
            <a:grpFill/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36" name="Freeform 31">
              <a:extLst>
                <a:ext uri="{FF2B5EF4-FFF2-40B4-BE49-F238E27FC236}">
                  <a16:creationId xmlns:a16="http://schemas.microsoft.com/office/drawing/2014/main" id="{675E9AE5-0DBB-4679-A62B-FC317A8C6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4" y="1898"/>
              <a:ext cx="519" cy="522"/>
            </a:xfrm>
            <a:custGeom>
              <a:avLst/>
              <a:gdLst>
                <a:gd name="T0" fmla="*/ 199 w 249"/>
                <a:gd name="T1" fmla="*/ 100 h 250"/>
                <a:gd name="T2" fmla="*/ 150 w 249"/>
                <a:gd name="T3" fmla="*/ 100 h 250"/>
                <a:gd name="T4" fmla="*/ 139 w 249"/>
                <a:gd name="T5" fmla="*/ 75 h 250"/>
                <a:gd name="T6" fmla="*/ 150 w 249"/>
                <a:gd name="T7" fmla="*/ 50 h 250"/>
                <a:gd name="T8" fmla="*/ 165 w 249"/>
                <a:gd name="T9" fmla="*/ 41 h 250"/>
                <a:gd name="T10" fmla="*/ 125 w 249"/>
                <a:gd name="T11" fmla="*/ 0 h 250"/>
                <a:gd name="T12" fmla="*/ 75 w 249"/>
                <a:gd name="T13" fmla="*/ 50 h 250"/>
                <a:gd name="T14" fmla="*/ 62 w 249"/>
                <a:gd name="T15" fmla="*/ 50 h 250"/>
                <a:gd name="T16" fmla="*/ 57 w 249"/>
                <a:gd name="T17" fmla="*/ 45 h 250"/>
                <a:gd name="T18" fmla="*/ 55 w 249"/>
                <a:gd name="T19" fmla="*/ 38 h 250"/>
                <a:gd name="T20" fmla="*/ 50 w 249"/>
                <a:gd name="T21" fmla="*/ 25 h 250"/>
                <a:gd name="T22" fmla="*/ 25 w 249"/>
                <a:gd name="T23" fmla="*/ 25 h 250"/>
                <a:gd name="T24" fmla="*/ 25 w 249"/>
                <a:gd name="T25" fmla="*/ 50 h 250"/>
                <a:gd name="T26" fmla="*/ 37 w 249"/>
                <a:gd name="T27" fmla="*/ 55 h 250"/>
                <a:gd name="T28" fmla="*/ 38 w 249"/>
                <a:gd name="T29" fmla="*/ 55 h 250"/>
                <a:gd name="T30" fmla="*/ 45 w 249"/>
                <a:gd name="T31" fmla="*/ 57 h 250"/>
                <a:gd name="T32" fmla="*/ 50 w 249"/>
                <a:gd name="T33" fmla="*/ 62 h 250"/>
                <a:gd name="T34" fmla="*/ 50 w 249"/>
                <a:gd name="T35" fmla="*/ 75 h 250"/>
                <a:gd name="T36" fmla="*/ 0 w 249"/>
                <a:gd name="T37" fmla="*/ 125 h 250"/>
                <a:gd name="T38" fmla="*/ 43 w 249"/>
                <a:gd name="T39" fmla="*/ 168 h 250"/>
                <a:gd name="T40" fmla="*/ 46 w 249"/>
                <a:gd name="T41" fmla="*/ 166 h 250"/>
                <a:gd name="T42" fmla="*/ 56 w 249"/>
                <a:gd name="T43" fmla="*/ 143 h 250"/>
                <a:gd name="T44" fmla="*/ 106 w 249"/>
                <a:gd name="T45" fmla="*/ 143 h 250"/>
                <a:gd name="T46" fmla="*/ 106 w 249"/>
                <a:gd name="T47" fmla="*/ 193 h 250"/>
                <a:gd name="T48" fmla="*/ 83 w 249"/>
                <a:gd name="T49" fmla="*/ 204 h 250"/>
                <a:gd name="T50" fmla="*/ 81 w 249"/>
                <a:gd name="T51" fmla="*/ 206 h 250"/>
                <a:gd name="T52" fmla="*/ 125 w 249"/>
                <a:gd name="T53" fmla="*/ 250 h 250"/>
                <a:gd name="T54" fmla="*/ 174 w 249"/>
                <a:gd name="T55" fmla="*/ 200 h 250"/>
                <a:gd name="T56" fmla="*/ 181 w 249"/>
                <a:gd name="T57" fmla="*/ 197 h 250"/>
                <a:gd name="T58" fmla="*/ 187 w 249"/>
                <a:gd name="T59" fmla="*/ 200 h 250"/>
                <a:gd name="T60" fmla="*/ 198 w 249"/>
                <a:gd name="T61" fmla="*/ 211 h 250"/>
                <a:gd name="T62" fmla="*/ 201 w 249"/>
                <a:gd name="T63" fmla="*/ 217 h 250"/>
                <a:gd name="T64" fmla="*/ 206 w 249"/>
                <a:gd name="T65" fmla="*/ 231 h 250"/>
                <a:gd name="T66" fmla="*/ 231 w 249"/>
                <a:gd name="T67" fmla="*/ 231 h 250"/>
                <a:gd name="T68" fmla="*/ 236 w 249"/>
                <a:gd name="T69" fmla="*/ 218 h 250"/>
                <a:gd name="T70" fmla="*/ 231 w 249"/>
                <a:gd name="T71" fmla="*/ 206 h 250"/>
                <a:gd name="T72" fmla="*/ 217 w 249"/>
                <a:gd name="T73" fmla="*/ 201 h 250"/>
                <a:gd name="T74" fmla="*/ 211 w 249"/>
                <a:gd name="T75" fmla="*/ 198 h 250"/>
                <a:gd name="T76" fmla="*/ 199 w 249"/>
                <a:gd name="T77" fmla="*/ 187 h 250"/>
                <a:gd name="T78" fmla="*/ 199 w 249"/>
                <a:gd name="T79" fmla="*/ 175 h 250"/>
                <a:gd name="T80" fmla="*/ 249 w 249"/>
                <a:gd name="T81" fmla="*/ 125 h 250"/>
                <a:gd name="T82" fmla="*/ 209 w 249"/>
                <a:gd name="T83" fmla="*/ 84 h 250"/>
                <a:gd name="T84" fmla="*/ 199 w 249"/>
                <a:gd name="T85" fmla="*/ 10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9" h="250">
                  <a:moveTo>
                    <a:pt x="199" y="100"/>
                  </a:moveTo>
                  <a:cubicBezTo>
                    <a:pt x="186" y="113"/>
                    <a:pt x="163" y="113"/>
                    <a:pt x="150" y="100"/>
                  </a:cubicBezTo>
                  <a:cubicBezTo>
                    <a:pt x="143" y="93"/>
                    <a:pt x="139" y="84"/>
                    <a:pt x="139" y="75"/>
                  </a:cubicBezTo>
                  <a:cubicBezTo>
                    <a:pt x="139" y="65"/>
                    <a:pt x="143" y="57"/>
                    <a:pt x="150" y="50"/>
                  </a:cubicBezTo>
                  <a:cubicBezTo>
                    <a:pt x="154" y="45"/>
                    <a:pt x="159" y="42"/>
                    <a:pt x="165" y="41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1" y="53"/>
                    <a:pt x="66" y="53"/>
                    <a:pt x="62" y="50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5" y="43"/>
                    <a:pt x="55" y="41"/>
                    <a:pt x="55" y="38"/>
                  </a:cubicBezTo>
                  <a:cubicBezTo>
                    <a:pt x="55" y="33"/>
                    <a:pt x="53" y="28"/>
                    <a:pt x="50" y="25"/>
                  </a:cubicBezTo>
                  <a:cubicBezTo>
                    <a:pt x="43" y="18"/>
                    <a:pt x="31" y="18"/>
                    <a:pt x="25" y="25"/>
                  </a:cubicBezTo>
                  <a:cubicBezTo>
                    <a:pt x="18" y="32"/>
                    <a:pt x="18" y="43"/>
                    <a:pt x="25" y="50"/>
                  </a:cubicBezTo>
                  <a:cubicBezTo>
                    <a:pt x="28" y="53"/>
                    <a:pt x="32" y="55"/>
                    <a:pt x="37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41" y="55"/>
                    <a:pt x="43" y="56"/>
                    <a:pt x="45" y="57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53" y="66"/>
                    <a:pt x="53" y="71"/>
                    <a:pt x="50" y="7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43" y="168"/>
                    <a:pt x="43" y="168"/>
                    <a:pt x="43" y="168"/>
                  </a:cubicBezTo>
                  <a:cubicBezTo>
                    <a:pt x="46" y="166"/>
                    <a:pt x="46" y="166"/>
                    <a:pt x="46" y="166"/>
                  </a:cubicBezTo>
                  <a:cubicBezTo>
                    <a:pt x="46" y="158"/>
                    <a:pt x="50" y="150"/>
                    <a:pt x="56" y="143"/>
                  </a:cubicBezTo>
                  <a:cubicBezTo>
                    <a:pt x="70" y="130"/>
                    <a:pt x="92" y="130"/>
                    <a:pt x="106" y="143"/>
                  </a:cubicBezTo>
                  <a:cubicBezTo>
                    <a:pt x="120" y="157"/>
                    <a:pt x="120" y="180"/>
                    <a:pt x="106" y="193"/>
                  </a:cubicBezTo>
                  <a:cubicBezTo>
                    <a:pt x="100" y="199"/>
                    <a:pt x="92" y="203"/>
                    <a:pt x="83" y="204"/>
                  </a:cubicBezTo>
                  <a:cubicBezTo>
                    <a:pt x="81" y="206"/>
                    <a:pt x="81" y="206"/>
                    <a:pt x="81" y="206"/>
                  </a:cubicBezTo>
                  <a:cubicBezTo>
                    <a:pt x="125" y="250"/>
                    <a:pt x="125" y="250"/>
                    <a:pt x="125" y="250"/>
                  </a:cubicBezTo>
                  <a:cubicBezTo>
                    <a:pt x="174" y="200"/>
                    <a:pt x="174" y="200"/>
                    <a:pt x="174" y="200"/>
                  </a:cubicBezTo>
                  <a:cubicBezTo>
                    <a:pt x="176" y="198"/>
                    <a:pt x="178" y="197"/>
                    <a:pt x="181" y="197"/>
                  </a:cubicBezTo>
                  <a:cubicBezTo>
                    <a:pt x="183" y="197"/>
                    <a:pt x="185" y="198"/>
                    <a:pt x="187" y="200"/>
                  </a:cubicBezTo>
                  <a:cubicBezTo>
                    <a:pt x="198" y="211"/>
                    <a:pt x="198" y="211"/>
                    <a:pt x="198" y="211"/>
                  </a:cubicBezTo>
                  <a:cubicBezTo>
                    <a:pt x="200" y="213"/>
                    <a:pt x="201" y="215"/>
                    <a:pt x="201" y="217"/>
                  </a:cubicBezTo>
                  <a:cubicBezTo>
                    <a:pt x="200" y="223"/>
                    <a:pt x="202" y="227"/>
                    <a:pt x="206" y="231"/>
                  </a:cubicBezTo>
                  <a:cubicBezTo>
                    <a:pt x="213" y="238"/>
                    <a:pt x="224" y="238"/>
                    <a:pt x="231" y="231"/>
                  </a:cubicBezTo>
                  <a:cubicBezTo>
                    <a:pt x="234" y="228"/>
                    <a:pt x="236" y="223"/>
                    <a:pt x="236" y="218"/>
                  </a:cubicBezTo>
                  <a:cubicBezTo>
                    <a:pt x="236" y="214"/>
                    <a:pt x="234" y="209"/>
                    <a:pt x="231" y="206"/>
                  </a:cubicBezTo>
                  <a:cubicBezTo>
                    <a:pt x="227" y="202"/>
                    <a:pt x="222" y="201"/>
                    <a:pt x="217" y="201"/>
                  </a:cubicBezTo>
                  <a:cubicBezTo>
                    <a:pt x="215" y="201"/>
                    <a:pt x="212" y="200"/>
                    <a:pt x="211" y="198"/>
                  </a:cubicBezTo>
                  <a:cubicBezTo>
                    <a:pt x="199" y="187"/>
                    <a:pt x="199" y="187"/>
                    <a:pt x="199" y="187"/>
                  </a:cubicBezTo>
                  <a:cubicBezTo>
                    <a:pt x="196" y="184"/>
                    <a:pt x="196" y="178"/>
                    <a:pt x="199" y="175"/>
                  </a:cubicBezTo>
                  <a:cubicBezTo>
                    <a:pt x="249" y="125"/>
                    <a:pt x="249" y="125"/>
                    <a:pt x="249" y="125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07" y="90"/>
                    <a:pt x="204" y="95"/>
                    <a:pt x="199" y="100"/>
                  </a:cubicBezTo>
                  <a:close/>
                </a:path>
              </a:pathLst>
            </a:custGeom>
            <a:grpFill/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1" name="Freeform 32">
              <a:extLst>
                <a:ext uri="{FF2B5EF4-FFF2-40B4-BE49-F238E27FC236}">
                  <a16:creationId xmlns:a16="http://schemas.microsoft.com/office/drawing/2014/main" id="{91B28ECE-E027-47F7-83B8-3B54954CD7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5" y="1564"/>
              <a:ext cx="1186" cy="1186"/>
            </a:xfrm>
            <a:custGeom>
              <a:avLst/>
              <a:gdLst>
                <a:gd name="T0" fmla="*/ 489 w 569"/>
                <a:gd name="T1" fmla="*/ 234 h 568"/>
                <a:gd name="T2" fmla="*/ 472 w 569"/>
                <a:gd name="T3" fmla="*/ 217 h 568"/>
                <a:gd name="T4" fmla="*/ 378 w 569"/>
                <a:gd name="T5" fmla="*/ 91 h 568"/>
                <a:gd name="T6" fmla="*/ 353 w 569"/>
                <a:gd name="T7" fmla="*/ 29 h 568"/>
                <a:gd name="T8" fmla="*/ 222 w 569"/>
                <a:gd name="T9" fmla="*/ 60 h 568"/>
                <a:gd name="T10" fmla="*/ 234 w 569"/>
                <a:gd name="T11" fmla="*/ 80 h 568"/>
                <a:gd name="T12" fmla="*/ 217 w 569"/>
                <a:gd name="T13" fmla="*/ 97 h 568"/>
                <a:gd name="T14" fmla="*/ 91 w 569"/>
                <a:gd name="T15" fmla="*/ 191 h 568"/>
                <a:gd name="T16" fmla="*/ 28 w 569"/>
                <a:gd name="T17" fmla="*/ 216 h 568"/>
                <a:gd name="T18" fmla="*/ 60 w 569"/>
                <a:gd name="T19" fmla="*/ 347 h 568"/>
                <a:gd name="T20" fmla="*/ 109 w 569"/>
                <a:gd name="T21" fmla="*/ 322 h 568"/>
                <a:gd name="T22" fmla="*/ 85 w 569"/>
                <a:gd name="T23" fmla="*/ 360 h 568"/>
                <a:gd name="T24" fmla="*/ 188 w 569"/>
                <a:gd name="T25" fmla="*/ 481 h 568"/>
                <a:gd name="T26" fmla="*/ 226 w 569"/>
                <a:gd name="T27" fmla="*/ 518 h 568"/>
                <a:gd name="T28" fmla="*/ 347 w 569"/>
                <a:gd name="T29" fmla="*/ 509 h 568"/>
                <a:gd name="T30" fmla="*/ 317 w 569"/>
                <a:gd name="T31" fmla="*/ 472 h 568"/>
                <a:gd name="T32" fmla="*/ 359 w 569"/>
                <a:gd name="T33" fmla="*/ 484 h 568"/>
                <a:gd name="T34" fmla="*/ 480 w 569"/>
                <a:gd name="T35" fmla="*/ 381 h 568"/>
                <a:gd name="T36" fmla="*/ 517 w 569"/>
                <a:gd name="T37" fmla="*/ 343 h 568"/>
                <a:gd name="T38" fmla="*/ 200 w 569"/>
                <a:gd name="T39" fmla="*/ 107 h 568"/>
                <a:gd name="T40" fmla="*/ 243 w 569"/>
                <a:gd name="T41" fmla="*/ 63 h 568"/>
                <a:gd name="T42" fmla="*/ 360 w 569"/>
                <a:gd name="T43" fmla="*/ 55 h 568"/>
                <a:gd name="T44" fmla="*/ 377 w 569"/>
                <a:gd name="T45" fmla="*/ 71 h 568"/>
                <a:gd name="T46" fmla="*/ 368 w 569"/>
                <a:gd name="T47" fmla="*/ 188 h 568"/>
                <a:gd name="T48" fmla="*/ 284 w 569"/>
                <a:gd name="T49" fmla="*/ 272 h 568"/>
                <a:gd name="T50" fmla="*/ 208 w 569"/>
                <a:gd name="T51" fmla="*/ 240 h 568"/>
                <a:gd name="T52" fmla="*/ 192 w 569"/>
                <a:gd name="T53" fmla="*/ 224 h 568"/>
                <a:gd name="T54" fmla="*/ 159 w 569"/>
                <a:gd name="T55" fmla="*/ 147 h 568"/>
                <a:gd name="T56" fmla="*/ 122 w 569"/>
                <a:gd name="T57" fmla="*/ 310 h 568"/>
                <a:gd name="T58" fmla="*/ 72 w 569"/>
                <a:gd name="T59" fmla="*/ 222 h 568"/>
                <a:gd name="T60" fmla="*/ 41 w 569"/>
                <a:gd name="T61" fmla="*/ 179 h 568"/>
                <a:gd name="T62" fmla="*/ 91 w 569"/>
                <a:gd name="T63" fmla="*/ 212 h 568"/>
                <a:gd name="T64" fmla="*/ 166 w 569"/>
                <a:gd name="T65" fmla="*/ 216 h 568"/>
                <a:gd name="T66" fmla="*/ 272 w 569"/>
                <a:gd name="T67" fmla="*/ 285 h 568"/>
                <a:gd name="T68" fmla="*/ 240 w 569"/>
                <a:gd name="T69" fmla="*/ 361 h 568"/>
                <a:gd name="T70" fmla="*/ 220 w 569"/>
                <a:gd name="T71" fmla="*/ 371 h 568"/>
                <a:gd name="T72" fmla="*/ 368 w 569"/>
                <a:gd name="T73" fmla="*/ 463 h 568"/>
                <a:gd name="T74" fmla="*/ 325 w 569"/>
                <a:gd name="T75" fmla="*/ 506 h 568"/>
                <a:gd name="T76" fmla="*/ 208 w 569"/>
                <a:gd name="T77" fmla="*/ 515 h 568"/>
                <a:gd name="T78" fmla="*/ 198 w 569"/>
                <a:gd name="T79" fmla="*/ 496 h 568"/>
                <a:gd name="T80" fmla="*/ 205 w 569"/>
                <a:gd name="T81" fmla="*/ 381 h 568"/>
                <a:gd name="T82" fmla="*/ 243 w 569"/>
                <a:gd name="T83" fmla="*/ 343 h 568"/>
                <a:gd name="T84" fmla="*/ 358 w 569"/>
                <a:gd name="T85" fmla="*/ 336 h 568"/>
                <a:gd name="T86" fmla="*/ 377 w 569"/>
                <a:gd name="T87" fmla="*/ 346 h 568"/>
                <a:gd name="T88" fmla="*/ 409 w 569"/>
                <a:gd name="T89" fmla="*/ 422 h 568"/>
                <a:gd name="T90" fmla="*/ 514 w 569"/>
                <a:gd name="T91" fmla="*/ 361 h 568"/>
                <a:gd name="T92" fmla="*/ 498 w 569"/>
                <a:gd name="T93" fmla="*/ 377 h 568"/>
                <a:gd name="T94" fmla="*/ 422 w 569"/>
                <a:gd name="T95" fmla="*/ 410 h 568"/>
                <a:gd name="T96" fmla="*/ 353 w 569"/>
                <a:gd name="T97" fmla="*/ 303 h 568"/>
                <a:gd name="T98" fmla="*/ 347 w 569"/>
                <a:gd name="T99" fmla="*/ 222 h 568"/>
                <a:gd name="T100" fmla="*/ 322 w 569"/>
                <a:gd name="T101" fmla="*/ 185 h 568"/>
                <a:gd name="T102" fmla="*/ 372 w 569"/>
                <a:gd name="T103" fmla="*/ 210 h 568"/>
                <a:gd name="T104" fmla="*/ 447 w 569"/>
                <a:gd name="T105" fmla="*/ 260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9" h="568">
                  <a:moveTo>
                    <a:pt x="509" y="222"/>
                  </a:moveTo>
                  <a:cubicBezTo>
                    <a:pt x="507" y="221"/>
                    <a:pt x="505" y="220"/>
                    <a:pt x="503" y="220"/>
                  </a:cubicBezTo>
                  <a:cubicBezTo>
                    <a:pt x="500" y="220"/>
                    <a:pt x="498" y="221"/>
                    <a:pt x="496" y="222"/>
                  </a:cubicBezTo>
                  <a:cubicBezTo>
                    <a:pt x="492" y="227"/>
                    <a:pt x="492" y="227"/>
                    <a:pt x="492" y="227"/>
                  </a:cubicBezTo>
                  <a:cubicBezTo>
                    <a:pt x="490" y="229"/>
                    <a:pt x="489" y="231"/>
                    <a:pt x="489" y="234"/>
                  </a:cubicBezTo>
                  <a:cubicBezTo>
                    <a:pt x="489" y="239"/>
                    <a:pt x="487" y="244"/>
                    <a:pt x="484" y="247"/>
                  </a:cubicBezTo>
                  <a:cubicBezTo>
                    <a:pt x="477" y="254"/>
                    <a:pt x="466" y="254"/>
                    <a:pt x="459" y="247"/>
                  </a:cubicBezTo>
                  <a:cubicBezTo>
                    <a:pt x="456" y="244"/>
                    <a:pt x="454" y="240"/>
                    <a:pt x="454" y="235"/>
                  </a:cubicBezTo>
                  <a:cubicBezTo>
                    <a:pt x="454" y="230"/>
                    <a:pt x="456" y="226"/>
                    <a:pt x="459" y="222"/>
                  </a:cubicBezTo>
                  <a:cubicBezTo>
                    <a:pt x="463" y="219"/>
                    <a:pt x="467" y="217"/>
                    <a:pt x="472" y="217"/>
                  </a:cubicBezTo>
                  <a:cubicBezTo>
                    <a:pt x="475" y="217"/>
                    <a:pt x="477" y="217"/>
                    <a:pt x="479" y="215"/>
                  </a:cubicBezTo>
                  <a:cubicBezTo>
                    <a:pt x="484" y="210"/>
                    <a:pt x="484" y="210"/>
                    <a:pt x="484" y="210"/>
                  </a:cubicBezTo>
                  <a:cubicBezTo>
                    <a:pt x="487" y="206"/>
                    <a:pt x="487" y="201"/>
                    <a:pt x="484" y="197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378" y="91"/>
                    <a:pt x="378" y="91"/>
                    <a:pt x="378" y="91"/>
                  </a:cubicBezTo>
                  <a:cubicBezTo>
                    <a:pt x="380" y="89"/>
                    <a:pt x="380" y="89"/>
                    <a:pt x="380" y="89"/>
                  </a:cubicBezTo>
                  <a:cubicBezTo>
                    <a:pt x="389" y="88"/>
                    <a:pt x="397" y="85"/>
                    <a:pt x="403" y="79"/>
                  </a:cubicBezTo>
                  <a:cubicBezTo>
                    <a:pt x="410" y="72"/>
                    <a:pt x="413" y="63"/>
                    <a:pt x="413" y="54"/>
                  </a:cubicBezTo>
                  <a:cubicBezTo>
                    <a:pt x="413" y="44"/>
                    <a:pt x="410" y="36"/>
                    <a:pt x="403" y="29"/>
                  </a:cubicBezTo>
                  <a:cubicBezTo>
                    <a:pt x="390" y="16"/>
                    <a:pt x="366" y="16"/>
                    <a:pt x="353" y="29"/>
                  </a:cubicBezTo>
                  <a:cubicBezTo>
                    <a:pt x="347" y="35"/>
                    <a:pt x="343" y="43"/>
                    <a:pt x="343" y="52"/>
                  </a:cubicBezTo>
                  <a:cubicBezTo>
                    <a:pt x="340" y="54"/>
                    <a:pt x="340" y="54"/>
                    <a:pt x="340" y="54"/>
                  </a:cubicBezTo>
                  <a:cubicBezTo>
                    <a:pt x="291" y="4"/>
                    <a:pt x="291" y="4"/>
                    <a:pt x="291" y="4"/>
                  </a:cubicBezTo>
                  <a:cubicBezTo>
                    <a:pt x="287" y="0"/>
                    <a:pt x="281" y="0"/>
                    <a:pt x="278" y="4"/>
                  </a:cubicBezTo>
                  <a:cubicBezTo>
                    <a:pt x="222" y="60"/>
                    <a:pt x="222" y="60"/>
                    <a:pt x="222" y="60"/>
                  </a:cubicBezTo>
                  <a:cubicBezTo>
                    <a:pt x="220" y="62"/>
                    <a:pt x="219" y="64"/>
                    <a:pt x="219" y="66"/>
                  </a:cubicBezTo>
                  <a:cubicBezTo>
                    <a:pt x="219" y="69"/>
                    <a:pt x="220" y="71"/>
                    <a:pt x="222" y="73"/>
                  </a:cubicBezTo>
                  <a:cubicBezTo>
                    <a:pt x="227" y="77"/>
                    <a:pt x="227" y="77"/>
                    <a:pt x="227" y="77"/>
                  </a:cubicBezTo>
                  <a:cubicBezTo>
                    <a:pt x="228" y="79"/>
                    <a:pt x="231" y="80"/>
                    <a:pt x="233" y="80"/>
                  </a:cubicBezTo>
                  <a:cubicBezTo>
                    <a:pt x="234" y="80"/>
                    <a:pt x="234" y="80"/>
                    <a:pt x="234" y="80"/>
                  </a:cubicBezTo>
                  <a:cubicBezTo>
                    <a:pt x="239" y="80"/>
                    <a:pt x="244" y="82"/>
                    <a:pt x="247" y="85"/>
                  </a:cubicBezTo>
                  <a:cubicBezTo>
                    <a:pt x="250" y="88"/>
                    <a:pt x="252" y="93"/>
                    <a:pt x="252" y="98"/>
                  </a:cubicBezTo>
                  <a:cubicBezTo>
                    <a:pt x="252" y="102"/>
                    <a:pt x="250" y="107"/>
                    <a:pt x="247" y="110"/>
                  </a:cubicBezTo>
                  <a:cubicBezTo>
                    <a:pt x="240" y="117"/>
                    <a:pt x="229" y="117"/>
                    <a:pt x="222" y="110"/>
                  </a:cubicBezTo>
                  <a:cubicBezTo>
                    <a:pt x="218" y="106"/>
                    <a:pt x="217" y="102"/>
                    <a:pt x="217" y="97"/>
                  </a:cubicBezTo>
                  <a:cubicBezTo>
                    <a:pt x="217" y="94"/>
                    <a:pt x="216" y="92"/>
                    <a:pt x="214" y="90"/>
                  </a:cubicBezTo>
                  <a:cubicBezTo>
                    <a:pt x="209" y="85"/>
                    <a:pt x="209" y="85"/>
                    <a:pt x="209" y="85"/>
                  </a:cubicBezTo>
                  <a:cubicBezTo>
                    <a:pt x="206" y="82"/>
                    <a:pt x="200" y="82"/>
                    <a:pt x="197" y="85"/>
                  </a:cubicBezTo>
                  <a:cubicBezTo>
                    <a:pt x="141" y="141"/>
                    <a:pt x="141" y="141"/>
                    <a:pt x="141" y="141"/>
                  </a:cubicBezTo>
                  <a:cubicBezTo>
                    <a:pt x="91" y="191"/>
                    <a:pt x="91" y="191"/>
                    <a:pt x="91" y="191"/>
                  </a:cubicBezTo>
                  <a:cubicBezTo>
                    <a:pt x="88" y="189"/>
                    <a:pt x="88" y="189"/>
                    <a:pt x="88" y="189"/>
                  </a:cubicBezTo>
                  <a:cubicBezTo>
                    <a:pt x="88" y="180"/>
                    <a:pt x="84" y="172"/>
                    <a:pt x="78" y="166"/>
                  </a:cubicBezTo>
                  <a:cubicBezTo>
                    <a:pt x="65" y="153"/>
                    <a:pt x="42" y="153"/>
                    <a:pt x="28" y="166"/>
                  </a:cubicBezTo>
                  <a:cubicBezTo>
                    <a:pt x="22" y="173"/>
                    <a:pt x="18" y="182"/>
                    <a:pt x="18" y="191"/>
                  </a:cubicBezTo>
                  <a:cubicBezTo>
                    <a:pt x="18" y="201"/>
                    <a:pt x="22" y="209"/>
                    <a:pt x="28" y="216"/>
                  </a:cubicBezTo>
                  <a:cubicBezTo>
                    <a:pt x="34" y="222"/>
                    <a:pt x="42" y="226"/>
                    <a:pt x="51" y="226"/>
                  </a:cubicBezTo>
                  <a:cubicBezTo>
                    <a:pt x="53" y="229"/>
                    <a:pt x="53" y="229"/>
                    <a:pt x="53" y="229"/>
                  </a:cubicBezTo>
                  <a:cubicBezTo>
                    <a:pt x="3" y="278"/>
                    <a:pt x="3" y="278"/>
                    <a:pt x="3" y="278"/>
                  </a:cubicBezTo>
                  <a:cubicBezTo>
                    <a:pt x="0" y="282"/>
                    <a:pt x="0" y="288"/>
                    <a:pt x="3" y="291"/>
                  </a:cubicBezTo>
                  <a:cubicBezTo>
                    <a:pt x="60" y="347"/>
                    <a:pt x="60" y="347"/>
                    <a:pt x="60" y="347"/>
                  </a:cubicBezTo>
                  <a:cubicBezTo>
                    <a:pt x="63" y="351"/>
                    <a:pt x="69" y="351"/>
                    <a:pt x="72" y="347"/>
                  </a:cubicBezTo>
                  <a:cubicBezTo>
                    <a:pt x="77" y="342"/>
                    <a:pt x="77" y="342"/>
                    <a:pt x="77" y="342"/>
                  </a:cubicBezTo>
                  <a:cubicBezTo>
                    <a:pt x="79" y="341"/>
                    <a:pt x="80" y="338"/>
                    <a:pt x="80" y="336"/>
                  </a:cubicBezTo>
                  <a:cubicBezTo>
                    <a:pt x="79" y="330"/>
                    <a:pt x="81" y="326"/>
                    <a:pt x="85" y="322"/>
                  </a:cubicBezTo>
                  <a:cubicBezTo>
                    <a:pt x="91" y="316"/>
                    <a:pt x="103" y="316"/>
                    <a:pt x="109" y="322"/>
                  </a:cubicBezTo>
                  <a:cubicBezTo>
                    <a:pt x="113" y="326"/>
                    <a:pt x="115" y="330"/>
                    <a:pt x="115" y="335"/>
                  </a:cubicBezTo>
                  <a:cubicBezTo>
                    <a:pt x="115" y="339"/>
                    <a:pt x="113" y="344"/>
                    <a:pt x="109" y="347"/>
                  </a:cubicBezTo>
                  <a:cubicBezTo>
                    <a:pt x="106" y="351"/>
                    <a:pt x="101" y="352"/>
                    <a:pt x="96" y="352"/>
                  </a:cubicBezTo>
                  <a:cubicBezTo>
                    <a:pt x="94" y="352"/>
                    <a:pt x="91" y="353"/>
                    <a:pt x="89" y="355"/>
                  </a:cubicBezTo>
                  <a:cubicBezTo>
                    <a:pt x="85" y="360"/>
                    <a:pt x="85" y="360"/>
                    <a:pt x="85" y="360"/>
                  </a:cubicBezTo>
                  <a:cubicBezTo>
                    <a:pt x="81" y="363"/>
                    <a:pt x="81" y="369"/>
                    <a:pt x="85" y="372"/>
                  </a:cubicBezTo>
                  <a:cubicBezTo>
                    <a:pt x="141" y="428"/>
                    <a:pt x="141" y="428"/>
                    <a:pt x="141" y="428"/>
                  </a:cubicBezTo>
                  <a:cubicBezTo>
                    <a:pt x="141" y="428"/>
                    <a:pt x="141" y="428"/>
                    <a:pt x="141" y="428"/>
                  </a:cubicBezTo>
                  <a:cubicBezTo>
                    <a:pt x="191" y="478"/>
                    <a:pt x="191" y="478"/>
                    <a:pt x="191" y="478"/>
                  </a:cubicBezTo>
                  <a:cubicBezTo>
                    <a:pt x="188" y="481"/>
                    <a:pt x="188" y="481"/>
                    <a:pt x="188" y="481"/>
                  </a:cubicBezTo>
                  <a:cubicBezTo>
                    <a:pt x="180" y="481"/>
                    <a:pt x="172" y="485"/>
                    <a:pt x="166" y="491"/>
                  </a:cubicBezTo>
                  <a:cubicBezTo>
                    <a:pt x="152" y="504"/>
                    <a:pt x="152" y="527"/>
                    <a:pt x="166" y="541"/>
                  </a:cubicBezTo>
                  <a:cubicBezTo>
                    <a:pt x="172" y="547"/>
                    <a:pt x="181" y="551"/>
                    <a:pt x="191" y="551"/>
                  </a:cubicBezTo>
                  <a:cubicBezTo>
                    <a:pt x="200" y="551"/>
                    <a:pt x="209" y="547"/>
                    <a:pt x="216" y="541"/>
                  </a:cubicBezTo>
                  <a:cubicBezTo>
                    <a:pt x="222" y="535"/>
                    <a:pt x="225" y="527"/>
                    <a:pt x="226" y="518"/>
                  </a:cubicBezTo>
                  <a:cubicBezTo>
                    <a:pt x="228" y="516"/>
                    <a:pt x="228" y="516"/>
                    <a:pt x="228" y="516"/>
                  </a:cubicBezTo>
                  <a:cubicBezTo>
                    <a:pt x="278" y="566"/>
                    <a:pt x="278" y="566"/>
                    <a:pt x="278" y="566"/>
                  </a:cubicBezTo>
                  <a:cubicBezTo>
                    <a:pt x="280" y="567"/>
                    <a:pt x="282" y="568"/>
                    <a:pt x="284" y="568"/>
                  </a:cubicBezTo>
                  <a:cubicBezTo>
                    <a:pt x="287" y="568"/>
                    <a:pt x="289" y="567"/>
                    <a:pt x="291" y="566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50" y="506"/>
                    <a:pt x="350" y="500"/>
                    <a:pt x="347" y="497"/>
                  </a:cubicBezTo>
                  <a:cubicBezTo>
                    <a:pt x="342" y="492"/>
                    <a:pt x="342" y="492"/>
                    <a:pt x="342" y="492"/>
                  </a:cubicBezTo>
                  <a:cubicBezTo>
                    <a:pt x="340" y="490"/>
                    <a:pt x="338" y="489"/>
                    <a:pt x="335" y="489"/>
                  </a:cubicBezTo>
                  <a:cubicBezTo>
                    <a:pt x="330" y="490"/>
                    <a:pt x="325" y="488"/>
                    <a:pt x="322" y="484"/>
                  </a:cubicBezTo>
                  <a:cubicBezTo>
                    <a:pt x="318" y="481"/>
                    <a:pt x="317" y="477"/>
                    <a:pt x="317" y="472"/>
                  </a:cubicBezTo>
                  <a:cubicBezTo>
                    <a:pt x="317" y="467"/>
                    <a:pt x="318" y="463"/>
                    <a:pt x="322" y="460"/>
                  </a:cubicBezTo>
                  <a:cubicBezTo>
                    <a:pt x="328" y="453"/>
                    <a:pt x="340" y="453"/>
                    <a:pt x="347" y="460"/>
                  </a:cubicBezTo>
                  <a:cubicBezTo>
                    <a:pt x="350" y="463"/>
                    <a:pt x="352" y="468"/>
                    <a:pt x="352" y="473"/>
                  </a:cubicBezTo>
                  <a:cubicBezTo>
                    <a:pt x="352" y="475"/>
                    <a:pt x="352" y="478"/>
                    <a:pt x="354" y="480"/>
                  </a:cubicBezTo>
                  <a:cubicBezTo>
                    <a:pt x="359" y="484"/>
                    <a:pt x="359" y="484"/>
                    <a:pt x="359" y="484"/>
                  </a:cubicBezTo>
                  <a:cubicBezTo>
                    <a:pt x="363" y="488"/>
                    <a:pt x="368" y="488"/>
                    <a:pt x="372" y="484"/>
                  </a:cubicBezTo>
                  <a:cubicBezTo>
                    <a:pt x="428" y="428"/>
                    <a:pt x="428" y="428"/>
                    <a:pt x="428" y="428"/>
                  </a:cubicBezTo>
                  <a:cubicBezTo>
                    <a:pt x="428" y="428"/>
                    <a:pt x="428" y="428"/>
                    <a:pt x="428" y="428"/>
                  </a:cubicBezTo>
                  <a:cubicBezTo>
                    <a:pt x="478" y="378"/>
                    <a:pt x="478" y="378"/>
                    <a:pt x="478" y="378"/>
                  </a:cubicBezTo>
                  <a:cubicBezTo>
                    <a:pt x="480" y="381"/>
                    <a:pt x="480" y="381"/>
                    <a:pt x="480" y="381"/>
                  </a:cubicBezTo>
                  <a:cubicBezTo>
                    <a:pt x="481" y="389"/>
                    <a:pt x="484" y="397"/>
                    <a:pt x="490" y="403"/>
                  </a:cubicBezTo>
                  <a:cubicBezTo>
                    <a:pt x="504" y="417"/>
                    <a:pt x="526" y="417"/>
                    <a:pt x="540" y="403"/>
                  </a:cubicBezTo>
                  <a:cubicBezTo>
                    <a:pt x="547" y="397"/>
                    <a:pt x="551" y="388"/>
                    <a:pt x="551" y="378"/>
                  </a:cubicBezTo>
                  <a:cubicBezTo>
                    <a:pt x="551" y="369"/>
                    <a:pt x="547" y="360"/>
                    <a:pt x="540" y="353"/>
                  </a:cubicBezTo>
                  <a:cubicBezTo>
                    <a:pt x="534" y="347"/>
                    <a:pt x="526" y="344"/>
                    <a:pt x="517" y="343"/>
                  </a:cubicBezTo>
                  <a:cubicBezTo>
                    <a:pt x="515" y="341"/>
                    <a:pt x="515" y="341"/>
                    <a:pt x="515" y="341"/>
                  </a:cubicBezTo>
                  <a:cubicBezTo>
                    <a:pt x="565" y="291"/>
                    <a:pt x="565" y="291"/>
                    <a:pt x="565" y="291"/>
                  </a:cubicBezTo>
                  <a:cubicBezTo>
                    <a:pt x="569" y="288"/>
                    <a:pt x="569" y="282"/>
                    <a:pt x="565" y="278"/>
                  </a:cubicBezTo>
                  <a:lnTo>
                    <a:pt x="509" y="222"/>
                  </a:lnTo>
                  <a:close/>
                  <a:moveTo>
                    <a:pt x="200" y="107"/>
                  </a:moveTo>
                  <a:cubicBezTo>
                    <a:pt x="202" y="113"/>
                    <a:pt x="205" y="118"/>
                    <a:pt x="209" y="123"/>
                  </a:cubicBezTo>
                  <a:cubicBezTo>
                    <a:pt x="223" y="136"/>
                    <a:pt x="246" y="136"/>
                    <a:pt x="259" y="123"/>
                  </a:cubicBezTo>
                  <a:cubicBezTo>
                    <a:pt x="266" y="116"/>
                    <a:pt x="270" y="107"/>
                    <a:pt x="270" y="98"/>
                  </a:cubicBezTo>
                  <a:cubicBezTo>
                    <a:pt x="270" y="88"/>
                    <a:pt x="266" y="79"/>
                    <a:pt x="259" y="73"/>
                  </a:cubicBezTo>
                  <a:cubicBezTo>
                    <a:pt x="255" y="68"/>
                    <a:pt x="249" y="65"/>
                    <a:pt x="243" y="63"/>
                  </a:cubicBezTo>
                  <a:cubicBezTo>
                    <a:pt x="284" y="23"/>
                    <a:pt x="284" y="23"/>
                    <a:pt x="284" y="23"/>
                  </a:cubicBezTo>
                  <a:cubicBezTo>
                    <a:pt x="334" y="73"/>
                    <a:pt x="334" y="73"/>
                    <a:pt x="334" y="73"/>
                  </a:cubicBezTo>
                  <a:cubicBezTo>
                    <a:pt x="338" y="76"/>
                    <a:pt x="343" y="76"/>
                    <a:pt x="347" y="73"/>
                  </a:cubicBezTo>
                  <a:cubicBezTo>
                    <a:pt x="358" y="61"/>
                    <a:pt x="358" y="61"/>
                    <a:pt x="358" y="61"/>
                  </a:cubicBezTo>
                  <a:cubicBezTo>
                    <a:pt x="360" y="60"/>
                    <a:pt x="361" y="57"/>
                    <a:pt x="360" y="55"/>
                  </a:cubicBezTo>
                  <a:cubicBezTo>
                    <a:pt x="360" y="50"/>
                    <a:pt x="362" y="45"/>
                    <a:pt x="365" y="41"/>
                  </a:cubicBezTo>
                  <a:cubicBezTo>
                    <a:pt x="372" y="35"/>
                    <a:pt x="384" y="35"/>
                    <a:pt x="390" y="41"/>
                  </a:cubicBezTo>
                  <a:cubicBezTo>
                    <a:pt x="397" y="48"/>
                    <a:pt x="397" y="59"/>
                    <a:pt x="390" y="66"/>
                  </a:cubicBezTo>
                  <a:cubicBezTo>
                    <a:pt x="387" y="70"/>
                    <a:pt x="383" y="71"/>
                    <a:pt x="378" y="71"/>
                  </a:cubicBezTo>
                  <a:cubicBezTo>
                    <a:pt x="377" y="71"/>
                    <a:pt x="377" y="71"/>
                    <a:pt x="377" y="71"/>
                  </a:cubicBezTo>
                  <a:cubicBezTo>
                    <a:pt x="374" y="71"/>
                    <a:pt x="372" y="72"/>
                    <a:pt x="370" y="74"/>
                  </a:cubicBezTo>
                  <a:cubicBezTo>
                    <a:pt x="359" y="85"/>
                    <a:pt x="359" y="85"/>
                    <a:pt x="359" y="85"/>
                  </a:cubicBezTo>
                  <a:cubicBezTo>
                    <a:pt x="356" y="89"/>
                    <a:pt x="356" y="94"/>
                    <a:pt x="359" y="98"/>
                  </a:cubicBezTo>
                  <a:cubicBezTo>
                    <a:pt x="409" y="147"/>
                    <a:pt x="409" y="147"/>
                    <a:pt x="409" y="147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82"/>
                    <a:pt x="364" y="177"/>
                    <a:pt x="359" y="172"/>
                  </a:cubicBezTo>
                  <a:cubicBezTo>
                    <a:pt x="346" y="159"/>
                    <a:pt x="323" y="159"/>
                    <a:pt x="309" y="172"/>
                  </a:cubicBezTo>
                  <a:cubicBezTo>
                    <a:pt x="295" y="186"/>
                    <a:pt x="295" y="209"/>
                    <a:pt x="309" y="222"/>
                  </a:cubicBezTo>
                  <a:cubicBezTo>
                    <a:pt x="314" y="227"/>
                    <a:pt x="319" y="230"/>
                    <a:pt x="325" y="231"/>
                  </a:cubicBezTo>
                  <a:cubicBezTo>
                    <a:pt x="284" y="272"/>
                    <a:pt x="284" y="272"/>
                    <a:pt x="284" y="272"/>
                  </a:cubicBezTo>
                  <a:cubicBezTo>
                    <a:pt x="234" y="222"/>
                    <a:pt x="234" y="222"/>
                    <a:pt x="234" y="222"/>
                  </a:cubicBezTo>
                  <a:cubicBezTo>
                    <a:pt x="233" y="221"/>
                    <a:pt x="230" y="220"/>
                    <a:pt x="228" y="220"/>
                  </a:cubicBezTo>
                  <a:cubicBezTo>
                    <a:pt x="226" y="220"/>
                    <a:pt x="223" y="221"/>
                    <a:pt x="222" y="222"/>
                  </a:cubicBezTo>
                  <a:cubicBezTo>
                    <a:pt x="211" y="233"/>
                    <a:pt x="211" y="233"/>
                    <a:pt x="211" y="233"/>
                  </a:cubicBezTo>
                  <a:cubicBezTo>
                    <a:pt x="209" y="235"/>
                    <a:pt x="208" y="238"/>
                    <a:pt x="208" y="240"/>
                  </a:cubicBezTo>
                  <a:cubicBezTo>
                    <a:pt x="208" y="245"/>
                    <a:pt x="207" y="250"/>
                    <a:pt x="203" y="254"/>
                  </a:cubicBezTo>
                  <a:cubicBezTo>
                    <a:pt x="196" y="260"/>
                    <a:pt x="185" y="260"/>
                    <a:pt x="178" y="254"/>
                  </a:cubicBezTo>
                  <a:cubicBezTo>
                    <a:pt x="171" y="247"/>
                    <a:pt x="171" y="235"/>
                    <a:pt x="178" y="229"/>
                  </a:cubicBezTo>
                  <a:cubicBezTo>
                    <a:pt x="181" y="225"/>
                    <a:pt x="186" y="224"/>
                    <a:pt x="191" y="224"/>
                  </a:cubicBezTo>
                  <a:cubicBezTo>
                    <a:pt x="192" y="224"/>
                    <a:pt x="192" y="224"/>
                    <a:pt x="192" y="224"/>
                  </a:cubicBezTo>
                  <a:cubicBezTo>
                    <a:pt x="194" y="224"/>
                    <a:pt x="197" y="223"/>
                    <a:pt x="198" y="221"/>
                  </a:cubicBezTo>
                  <a:cubicBezTo>
                    <a:pt x="209" y="210"/>
                    <a:pt x="209" y="210"/>
                    <a:pt x="209" y="210"/>
                  </a:cubicBezTo>
                  <a:cubicBezTo>
                    <a:pt x="211" y="208"/>
                    <a:pt x="212" y="206"/>
                    <a:pt x="212" y="204"/>
                  </a:cubicBezTo>
                  <a:cubicBezTo>
                    <a:pt x="212" y="201"/>
                    <a:pt x="211" y="199"/>
                    <a:pt x="209" y="197"/>
                  </a:cubicBezTo>
                  <a:cubicBezTo>
                    <a:pt x="159" y="147"/>
                    <a:pt x="159" y="147"/>
                    <a:pt x="159" y="147"/>
                  </a:cubicBezTo>
                  <a:lnTo>
                    <a:pt x="200" y="107"/>
                  </a:lnTo>
                  <a:close/>
                  <a:moveTo>
                    <a:pt x="106" y="369"/>
                  </a:moveTo>
                  <a:cubicBezTo>
                    <a:pt x="112" y="367"/>
                    <a:pt x="118" y="364"/>
                    <a:pt x="122" y="360"/>
                  </a:cubicBezTo>
                  <a:cubicBezTo>
                    <a:pt x="129" y="353"/>
                    <a:pt x="132" y="344"/>
                    <a:pt x="132" y="335"/>
                  </a:cubicBezTo>
                  <a:cubicBezTo>
                    <a:pt x="132" y="325"/>
                    <a:pt x="129" y="316"/>
                    <a:pt x="122" y="310"/>
                  </a:cubicBezTo>
                  <a:cubicBezTo>
                    <a:pt x="108" y="296"/>
                    <a:pt x="86" y="296"/>
                    <a:pt x="72" y="310"/>
                  </a:cubicBezTo>
                  <a:cubicBezTo>
                    <a:pt x="68" y="314"/>
                    <a:pt x="65" y="320"/>
                    <a:pt x="63" y="326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72" y="235"/>
                    <a:pt x="72" y="235"/>
                    <a:pt x="72" y="235"/>
                  </a:cubicBezTo>
                  <a:cubicBezTo>
                    <a:pt x="76" y="231"/>
                    <a:pt x="76" y="226"/>
                    <a:pt x="72" y="222"/>
                  </a:cubicBezTo>
                  <a:cubicBezTo>
                    <a:pt x="61" y="211"/>
                    <a:pt x="61" y="211"/>
                    <a:pt x="61" y="211"/>
                  </a:cubicBezTo>
                  <a:cubicBezTo>
                    <a:pt x="59" y="209"/>
                    <a:pt x="57" y="209"/>
                    <a:pt x="54" y="209"/>
                  </a:cubicBezTo>
                  <a:cubicBezTo>
                    <a:pt x="49" y="209"/>
                    <a:pt x="44" y="207"/>
                    <a:pt x="41" y="204"/>
                  </a:cubicBezTo>
                  <a:cubicBezTo>
                    <a:pt x="38" y="200"/>
                    <a:pt x="36" y="196"/>
                    <a:pt x="36" y="191"/>
                  </a:cubicBezTo>
                  <a:cubicBezTo>
                    <a:pt x="36" y="186"/>
                    <a:pt x="38" y="182"/>
                    <a:pt x="41" y="179"/>
                  </a:cubicBezTo>
                  <a:cubicBezTo>
                    <a:pt x="48" y="172"/>
                    <a:pt x="59" y="172"/>
                    <a:pt x="66" y="179"/>
                  </a:cubicBezTo>
                  <a:cubicBezTo>
                    <a:pt x="69" y="182"/>
                    <a:pt x="71" y="187"/>
                    <a:pt x="71" y="192"/>
                  </a:cubicBezTo>
                  <a:cubicBezTo>
                    <a:pt x="71" y="195"/>
                    <a:pt x="72" y="197"/>
                    <a:pt x="73" y="199"/>
                  </a:cubicBezTo>
                  <a:cubicBezTo>
                    <a:pt x="85" y="210"/>
                    <a:pt x="85" y="210"/>
                    <a:pt x="85" y="210"/>
                  </a:cubicBezTo>
                  <a:cubicBezTo>
                    <a:pt x="86" y="212"/>
                    <a:pt x="88" y="212"/>
                    <a:pt x="91" y="212"/>
                  </a:cubicBezTo>
                  <a:cubicBezTo>
                    <a:pt x="93" y="212"/>
                    <a:pt x="95" y="212"/>
                    <a:pt x="97" y="210"/>
                  </a:cubicBezTo>
                  <a:cubicBezTo>
                    <a:pt x="147" y="160"/>
                    <a:pt x="147" y="160"/>
                    <a:pt x="147" y="160"/>
                  </a:cubicBezTo>
                  <a:cubicBezTo>
                    <a:pt x="191" y="204"/>
                    <a:pt x="191" y="204"/>
                    <a:pt x="191" y="204"/>
                  </a:cubicBezTo>
                  <a:cubicBezTo>
                    <a:pt x="188" y="206"/>
                    <a:pt x="188" y="206"/>
                    <a:pt x="188" y="206"/>
                  </a:cubicBezTo>
                  <a:cubicBezTo>
                    <a:pt x="180" y="206"/>
                    <a:pt x="172" y="210"/>
                    <a:pt x="166" y="216"/>
                  </a:cubicBezTo>
                  <a:cubicBezTo>
                    <a:pt x="152" y="230"/>
                    <a:pt x="152" y="252"/>
                    <a:pt x="166" y="266"/>
                  </a:cubicBezTo>
                  <a:cubicBezTo>
                    <a:pt x="179" y="279"/>
                    <a:pt x="202" y="279"/>
                    <a:pt x="216" y="266"/>
                  </a:cubicBezTo>
                  <a:cubicBezTo>
                    <a:pt x="222" y="260"/>
                    <a:pt x="225" y="252"/>
                    <a:pt x="226" y="243"/>
                  </a:cubicBezTo>
                  <a:cubicBezTo>
                    <a:pt x="228" y="241"/>
                    <a:pt x="228" y="241"/>
                    <a:pt x="228" y="241"/>
                  </a:cubicBezTo>
                  <a:cubicBezTo>
                    <a:pt x="272" y="285"/>
                    <a:pt x="272" y="285"/>
                    <a:pt x="272" y="285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20" y="336"/>
                    <a:pt x="219" y="339"/>
                    <a:pt x="219" y="341"/>
                  </a:cubicBezTo>
                  <a:cubicBezTo>
                    <a:pt x="219" y="343"/>
                    <a:pt x="220" y="346"/>
                    <a:pt x="222" y="347"/>
                  </a:cubicBezTo>
                  <a:cubicBezTo>
                    <a:pt x="233" y="358"/>
                    <a:pt x="233" y="358"/>
                    <a:pt x="233" y="358"/>
                  </a:cubicBezTo>
                  <a:cubicBezTo>
                    <a:pt x="235" y="360"/>
                    <a:pt x="237" y="361"/>
                    <a:pt x="240" y="361"/>
                  </a:cubicBezTo>
                  <a:cubicBezTo>
                    <a:pt x="245" y="361"/>
                    <a:pt x="250" y="362"/>
                    <a:pt x="253" y="366"/>
                  </a:cubicBezTo>
                  <a:cubicBezTo>
                    <a:pt x="260" y="373"/>
                    <a:pt x="260" y="384"/>
                    <a:pt x="253" y="391"/>
                  </a:cubicBezTo>
                  <a:cubicBezTo>
                    <a:pt x="246" y="398"/>
                    <a:pt x="235" y="398"/>
                    <a:pt x="228" y="391"/>
                  </a:cubicBezTo>
                  <a:cubicBezTo>
                    <a:pt x="225" y="387"/>
                    <a:pt x="223" y="383"/>
                    <a:pt x="223" y="377"/>
                  </a:cubicBezTo>
                  <a:cubicBezTo>
                    <a:pt x="223" y="375"/>
                    <a:pt x="222" y="373"/>
                    <a:pt x="220" y="371"/>
                  </a:cubicBezTo>
                  <a:cubicBezTo>
                    <a:pt x="209" y="360"/>
                    <a:pt x="209" y="360"/>
                    <a:pt x="209" y="360"/>
                  </a:cubicBezTo>
                  <a:cubicBezTo>
                    <a:pt x="206" y="356"/>
                    <a:pt x="200" y="356"/>
                    <a:pt x="197" y="360"/>
                  </a:cubicBezTo>
                  <a:cubicBezTo>
                    <a:pt x="147" y="410"/>
                    <a:pt x="147" y="410"/>
                    <a:pt x="147" y="410"/>
                  </a:cubicBezTo>
                  <a:lnTo>
                    <a:pt x="106" y="369"/>
                  </a:lnTo>
                  <a:close/>
                  <a:moveTo>
                    <a:pt x="368" y="463"/>
                  </a:moveTo>
                  <a:cubicBezTo>
                    <a:pt x="367" y="457"/>
                    <a:pt x="364" y="451"/>
                    <a:pt x="359" y="447"/>
                  </a:cubicBezTo>
                  <a:cubicBezTo>
                    <a:pt x="346" y="434"/>
                    <a:pt x="323" y="434"/>
                    <a:pt x="309" y="447"/>
                  </a:cubicBezTo>
                  <a:cubicBezTo>
                    <a:pt x="303" y="454"/>
                    <a:pt x="299" y="463"/>
                    <a:pt x="299" y="472"/>
                  </a:cubicBezTo>
                  <a:cubicBezTo>
                    <a:pt x="299" y="481"/>
                    <a:pt x="303" y="490"/>
                    <a:pt x="309" y="497"/>
                  </a:cubicBezTo>
                  <a:cubicBezTo>
                    <a:pt x="314" y="501"/>
                    <a:pt x="319" y="504"/>
                    <a:pt x="325" y="506"/>
                  </a:cubicBezTo>
                  <a:cubicBezTo>
                    <a:pt x="284" y="547"/>
                    <a:pt x="284" y="547"/>
                    <a:pt x="284" y="547"/>
                  </a:cubicBezTo>
                  <a:cubicBezTo>
                    <a:pt x="234" y="497"/>
                    <a:pt x="234" y="497"/>
                    <a:pt x="234" y="497"/>
                  </a:cubicBezTo>
                  <a:cubicBezTo>
                    <a:pt x="231" y="494"/>
                    <a:pt x="225" y="494"/>
                    <a:pt x="222" y="497"/>
                  </a:cubicBezTo>
                  <a:cubicBezTo>
                    <a:pt x="211" y="508"/>
                    <a:pt x="211" y="508"/>
                    <a:pt x="211" y="508"/>
                  </a:cubicBezTo>
                  <a:cubicBezTo>
                    <a:pt x="209" y="510"/>
                    <a:pt x="208" y="512"/>
                    <a:pt x="208" y="515"/>
                  </a:cubicBezTo>
                  <a:cubicBezTo>
                    <a:pt x="208" y="520"/>
                    <a:pt x="207" y="525"/>
                    <a:pt x="203" y="528"/>
                  </a:cubicBezTo>
                  <a:cubicBezTo>
                    <a:pt x="196" y="535"/>
                    <a:pt x="185" y="535"/>
                    <a:pt x="178" y="528"/>
                  </a:cubicBezTo>
                  <a:cubicBezTo>
                    <a:pt x="171" y="521"/>
                    <a:pt x="171" y="510"/>
                    <a:pt x="178" y="503"/>
                  </a:cubicBezTo>
                  <a:cubicBezTo>
                    <a:pt x="182" y="500"/>
                    <a:pt x="186" y="498"/>
                    <a:pt x="192" y="498"/>
                  </a:cubicBezTo>
                  <a:cubicBezTo>
                    <a:pt x="194" y="498"/>
                    <a:pt x="197" y="497"/>
                    <a:pt x="198" y="496"/>
                  </a:cubicBezTo>
                  <a:cubicBezTo>
                    <a:pt x="209" y="484"/>
                    <a:pt x="209" y="484"/>
                    <a:pt x="209" y="484"/>
                  </a:cubicBezTo>
                  <a:cubicBezTo>
                    <a:pt x="213" y="481"/>
                    <a:pt x="213" y="475"/>
                    <a:pt x="209" y="472"/>
                  </a:cubicBezTo>
                  <a:cubicBezTo>
                    <a:pt x="159" y="422"/>
                    <a:pt x="159" y="422"/>
                    <a:pt x="159" y="422"/>
                  </a:cubicBezTo>
                  <a:cubicBezTo>
                    <a:pt x="203" y="378"/>
                    <a:pt x="203" y="378"/>
                    <a:pt x="203" y="378"/>
                  </a:cubicBezTo>
                  <a:cubicBezTo>
                    <a:pt x="205" y="381"/>
                    <a:pt x="205" y="381"/>
                    <a:pt x="205" y="381"/>
                  </a:cubicBezTo>
                  <a:cubicBezTo>
                    <a:pt x="206" y="389"/>
                    <a:pt x="210" y="397"/>
                    <a:pt x="216" y="403"/>
                  </a:cubicBezTo>
                  <a:cubicBezTo>
                    <a:pt x="229" y="417"/>
                    <a:pt x="252" y="417"/>
                    <a:pt x="266" y="403"/>
                  </a:cubicBezTo>
                  <a:cubicBezTo>
                    <a:pt x="272" y="397"/>
                    <a:pt x="276" y="388"/>
                    <a:pt x="276" y="378"/>
                  </a:cubicBezTo>
                  <a:cubicBezTo>
                    <a:pt x="276" y="369"/>
                    <a:pt x="272" y="360"/>
                    <a:pt x="266" y="353"/>
                  </a:cubicBezTo>
                  <a:cubicBezTo>
                    <a:pt x="260" y="347"/>
                    <a:pt x="251" y="344"/>
                    <a:pt x="243" y="343"/>
                  </a:cubicBezTo>
                  <a:cubicBezTo>
                    <a:pt x="241" y="341"/>
                    <a:pt x="241" y="341"/>
                    <a:pt x="241" y="341"/>
                  </a:cubicBezTo>
                  <a:cubicBezTo>
                    <a:pt x="284" y="297"/>
                    <a:pt x="284" y="297"/>
                    <a:pt x="284" y="297"/>
                  </a:cubicBezTo>
                  <a:cubicBezTo>
                    <a:pt x="334" y="347"/>
                    <a:pt x="334" y="347"/>
                    <a:pt x="334" y="347"/>
                  </a:cubicBezTo>
                  <a:cubicBezTo>
                    <a:pt x="338" y="351"/>
                    <a:pt x="343" y="351"/>
                    <a:pt x="347" y="347"/>
                  </a:cubicBezTo>
                  <a:cubicBezTo>
                    <a:pt x="358" y="336"/>
                    <a:pt x="358" y="336"/>
                    <a:pt x="358" y="336"/>
                  </a:cubicBezTo>
                  <a:cubicBezTo>
                    <a:pt x="360" y="334"/>
                    <a:pt x="361" y="332"/>
                    <a:pt x="360" y="329"/>
                  </a:cubicBezTo>
                  <a:cubicBezTo>
                    <a:pt x="360" y="324"/>
                    <a:pt x="362" y="320"/>
                    <a:pt x="365" y="316"/>
                  </a:cubicBezTo>
                  <a:cubicBezTo>
                    <a:pt x="372" y="309"/>
                    <a:pt x="383" y="309"/>
                    <a:pt x="390" y="316"/>
                  </a:cubicBezTo>
                  <a:cubicBezTo>
                    <a:pt x="397" y="323"/>
                    <a:pt x="397" y="334"/>
                    <a:pt x="390" y="341"/>
                  </a:cubicBezTo>
                  <a:cubicBezTo>
                    <a:pt x="387" y="344"/>
                    <a:pt x="382" y="346"/>
                    <a:pt x="377" y="346"/>
                  </a:cubicBezTo>
                  <a:cubicBezTo>
                    <a:pt x="375" y="346"/>
                    <a:pt x="372" y="347"/>
                    <a:pt x="370" y="349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357" y="361"/>
                    <a:pt x="357" y="364"/>
                    <a:pt x="357" y="366"/>
                  </a:cubicBezTo>
                  <a:cubicBezTo>
                    <a:pt x="357" y="368"/>
                    <a:pt x="357" y="371"/>
                    <a:pt x="359" y="372"/>
                  </a:cubicBezTo>
                  <a:cubicBezTo>
                    <a:pt x="409" y="422"/>
                    <a:pt x="409" y="422"/>
                    <a:pt x="409" y="422"/>
                  </a:cubicBezTo>
                  <a:lnTo>
                    <a:pt x="368" y="463"/>
                  </a:lnTo>
                  <a:close/>
                  <a:moveTo>
                    <a:pt x="496" y="335"/>
                  </a:moveTo>
                  <a:cubicBezTo>
                    <a:pt x="493" y="338"/>
                    <a:pt x="493" y="344"/>
                    <a:pt x="496" y="347"/>
                  </a:cubicBezTo>
                  <a:cubicBezTo>
                    <a:pt x="508" y="358"/>
                    <a:pt x="508" y="358"/>
                    <a:pt x="508" y="358"/>
                  </a:cubicBezTo>
                  <a:cubicBezTo>
                    <a:pt x="509" y="360"/>
                    <a:pt x="512" y="361"/>
                    <a:pt x="514" y="361"/>
                  </a:cubicBezTo>
                  <a:cubicBezTo>
                    <a:pt x="519" y="361"/>
                    <a:pt x="524" y="362"/>
                    <a:pt x="528" y="366"/>
                  </a:cubicBezTo>
                  <a:cubicBezTo>
                    <a:pt x="531" y="369"/>
                    <a:pt x="533" y="374"/>
                    <a:pt x="533" y="378"/>
                  </a:cubicBezTo>
                  <a:cubicBezTo>
                    <a:pt x="533" y="383"/>
                    <a:pt x="531" y="388"/>
                    <a:pt x="528" y="391"/>
                  </a:cubicBezTo>
                  <a:cubicBezTo>
                    <a:pt x="521" y="398"/>
                    <a:pt x="510" y="398"/>
                    <a:pt x="503" y="391"/>
                  </a:cubicBezTo>
                  <a:cubicBezTo>
                    <a:pt x="499" y="387"/>
                    <a:pt x="497" y="383"/>
                    <a:pt x="498" y="377"/>
                  </a:cubicBezTo>
                  <a:cubicBezTo>
                    <a:pt x="498" y="375"/>
                    <a:pt x="497" y="373"/>
                    <a:pt x="495" y="371"/>
                  </a:cubicBezTo>
                  <a:cubicBezTo>
                    <a:pt x="484" y="360"/>
                    <a:pt x="484" y="360"/>
                    <a:pt x="484" y="360"/>
                  </a:cubicBezTo>
                  <a:cubicBezTo>
                    <a:pt x="482" y="358"/>
                    <a:pt x="480" y="357"/>
                    <a:pt x="478" y="357"/>
                  </a:cubicBezTo>
                  <a:cubicBezTo>
                    <a:pt x="475" y="357"/>
                    <a:pt x="473" y="358"/>
                    <a:pt x="471" y="360"/>
                  </a:cubicBezTo>
                  <a:cubicBezTo>
                    <a:pt x="422" y="410"/>
                    <a:pt x="422" y="410"/>
                    <a:pt x="422" y="410"/>
                  </a:cubicBezTo>
                  <a:cubicBezTo>
                    <a:pt x="378" y="366"/>
                    <a:pt x="378" y="366"/>
                    <a:pt x="378" y="366"/>
                  </a:cubicBezTo>
                  <a:cubicBezTo>
                    <a:pt x="380" y="364"/>
                    <a:pt x="380" y="364"/>
                    <a:pt x="380" y="364"/>
                  </a:cubicBezTo>
                  <a:cubicBezTo>
                    <a:pt x="389" y="363"/>
                    <a:pt x="397" y="359"/>
                    <a:pt x="403" y="353"/>
                  </a:cubicBezTo>
                  <a:cubicBezTo>
                    <a:pt x="417" y="340"/>
                    <a:pt x="417" y="317"/>
                    <a:pt x="403" y="303"/>
                  </a:cubicBezTo>
                  <a:cubicBezTo>
                    <a:pt x="389" y="290"/>
                    <a:pt x="367" y="290"/>
                    <a:pt x="353" y="303"/>
                  </a:cubicBezTo>
                  <a:cubicBezTo>
                    <a:pt x="347" y="310"/>
                    <a:pt x="343" y="318"/>
                    <a:pt x="343" y="326"/>
                  </a:cubicBezTo>
                  <a:cubicBezTo>
                    <a:pt x="340" y="328"/>
                    <a:pt x="340" y="328"/>
                    <a:pt x="340" y="328"/>
                  </a:cubicBezTo>
                  <a:cubicBezTo>
                    <a:pt x="297" y="285"/>
                    <a:pt x="297" y="285"/>
                    <a:pt x="297" y="285"/>
                  </a:cubicBezTo>
                  <a:cubicBezTo>
                    <a:pt x="347" y="235"/>
                    <a:pt x="347" y="235"/>
                    <a:pt x="347" y="235"/>
                  </a:cubicBezTo>
                  <a:cubicBezTo>
                    <a:pt x="350" y="231"/>
                    <a:pt x="350" y="226"/>
                    <a:pt x="347" y="222"/>
                  </a:cubicBezTo>
                  <a:cubicBezTo>
                    <a:pt x="342" y="217"/>
                    <a:pt x="342" y="217"/>
                    <a:pt x="342" y="217"/>
                  </a:cubicBezTo>
                  <a:cubicBezTo>
                    <a:pt x="340" y="216"/>
                    <a:pt x="338" y="215"/>
                    <a:pt x="335" y="215"/>
                  </a:cubicBezTo>
                  <a:cubicBezTo>
                    <a:pt x="334" y="215"/>
                    <a:pt x="334" y="215"/>
                    <a:pt x="334" y="215"/>
                  </a:cubicBezTo>
                  <a:cubicBezTo>
                    <a:pt x="329" y="215"/>
                    <a:pt x="325" y="213"/>
                    <a:pt x="322" y="210"/>
                  </a:cubicBezTo>
                  <a:cubicBezTo>
                    <a:pt x="315" y="203"/>
                    <a:pt x="315" y="192"/>
                    <a:pt x="322" y="185"/>
                  </a:cubicBezTo>
                  <a:cubicBezTo>
                    <a:pt x="328" y="178"/>
                    <a:pt x="340" y="178"/>
                    <a:pt x="347" y="185"/>
                  </a:cubicBezTo>
                  <a:cubicBezTo>
                    <a:pt x="350" y="188"/>
                    <a:pt x="352" y="193"/>
                    <a:pt x="352" y="198"/>
                  </a:cubicBezTo>
                  <a:cubicBezTo>
                    <a:pt x="352" y="201"/>
                    <a:pt x="352" y="203"/>
                    <a:pt x="354" y="205"/>
                  </a:cubicBezTo>
                  <a:cubicBezTo>
                    <a:pt x="359" y="210"/>
                    <a:pt x="359" y="210"/>
                    <a:pt x="359" y="210"/>
                  </a:cubicBezTo>
                  <a:cubicBezTo>
                    <a:pt x="363" y="213"/>
                    <a:pt x="368" y="213"/>
                    <a:pt x="372" y="210"/>
                  </a:cubicBezTo>
                  <a:cubicBezTo>
                    <a:pt x="422" y="160"/>
                    <a:pt x="422" y="160"/>
                    <a:pt x="422" y="160"/>
                  </a:cubicBezTo>
                  <a:cubicBezTo>
                    <a:pt x="462" y="201"/>
                    <a:pt x="462" y="201"/>
                    <a:pt x="462" y="201"/>
                  </a:cubicBezTo>
                  <a:cubicBezTo>
                    <a:pt x="456" y="202"/>
                    <a:pt x="451" y="205"/>
                    <a:pt x="447" y="210"/>
                  </a:cubicBezTo>
                  <a:cubicBezTo>
                    <a:pt x="440" y="217"/>
                    <a:pt x="436" y="225"/>
                    <a:pt x="436" y="235"/>
                  </a:cubicBezTo>
                  <a:cubicBezTo>
                    <a:pt x="436" y="244"/>
                    <a:pt x="440" y="253"/>
                    <a:pt x="447" y="260"/>
                  </a:cubicBezTo>
                  <a:cubicBezTo>
                    <a:pt x="460" y="273"/>
                    <a:pt x="483" y="273"/>
                    <a:pt x="496" y="260"/>
                  </a:cubicBezTo>
                  <a:cubicBezTo>
                    <a:pt x="501" y="255"/>
                    <a:pt x="504" y="250"/>
                    <a:pt x="506" y="244"/>
                  </a:cubicBezTo>
                  <a:cubicBezTo>
                    <a:pt x="546" y="285"/>
                    <a:pt x="546" y="285"/>
                    <a:pt x="546" y="285"/>
                  </a:cubicBezTo>
                  <a:lnTo>
                    <a:pt x="496" y="335"/>
                  </a:lnTo>
                  <a:close/>
                </a:path>
              </a:pathLst>
            </a:custGeom>
            <a:grpFill/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8B87AC48-5FAF-404D-ACD9-DA8A056AB9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5" y="1564"/>
              <a:ext cx="1186" cy="1186"/>
            </a:xfrm>
            <a:custGeom>
              <a:avLst/>
              <a:gdLst>
                <a:gd name="T0" fmla="*/ 489 w 569"/>
                <a:gd name="T1" fmla="*/ 234 h 568"/>
                <a:gd name="T2" fmla="*/ 472 w 569"/>
                <a:gd name="T3" fmla="*/ 217 h 568"/>
                <a:gd name="T4" fmla="*/ 378 w 569"/>
                <a:gd name="T5" fmla="*/ 91 h 568"/>
                <a:gd name="T6" fmla="*/ 353 w 569"/>
                <a:gd name="T7" fmla="*/ 29 h 568"/>
                <a:gd name="T8" fmla="*/ 222 w 569"/>
                <a:gd name="T9" fmla="*/ 60 h 568"/>
                <a:gd name="T10" fmla="*/ 234 w 569"/>
                <a:gd name="T11" fmla="*/ 80 h 568"/>
                <a:gd name="T12" fmla="*/ 217 w 569"/>
                <a:gd name="T13" fmla="*/ 97 h 568"/>
                <a:gd name="T14" fmla="*/ 91 w 569"/>
                <a:gd name="T15" fmla="*/ 191 h 568"/>
                <a:gd name="T16" fmla="*/ 28 w 569"/>
                <a:gd name="T17" fmla="*/ 216 h 568"/>
                <a:gd name="T18" fmla="*/ 60 w 569"/>
                <a:gd name="T19" fmla="*/ 347 h 568"/>
                <a:gd name="T20" fmla="*/ 109 w 569"/>
                <a:gd name="T21" fmla="*/ 322 h 568"/>
                <a:gd name="T22" fmla="*/ 85 w 569"/>
                <a:gd name="T23" fmla="*/ 360 h 568"/>
                <a:gd name="T24" fmla="*/ 188 w 569"/>
                <a:gd name="T25" fmla="*/ 481 h 568"/>
                <a:gd name="T26" fmla="*/ 226 w 569"/>
                <a:gd name="T27" fmla="*/ 518 h 568"/>
                <a:gd name="T28" fmla="*/ 347 w 569"/>
                <a:gd name="T29" fmla="*/ 509 h 568"/>
                <a:gd name="T30" fmla="*/ 317 w 569"/>
                <a:gd name="T31" fmla="*/ 472 h 568"/>
                <a:gd name="T32" fmla="*/ 359 w 569"/>
                <a:gd name="T33" fmla="*/ 484 h 568"/>
                <a:gd name="T34" fmla="*/ 480 w 569"/>
                <a:gd name="T35" fmla="*/ 381 h 568"/>
                <a:gd name="T36" fmla="*/ 517 w 569"/>
                <a:gd name="T37" fmla="*/ 343 h 568"/>
                <a:gd name="T38" fmla="*/ 200 w 569"/>
                <a:gd name="T39" fmla="*/ 107 h 568"/>
                <a:gd name="T40" fmla="*/ 243 w 569"/>
                <a:gd name="T41" fmla="*/ 63 h 568"/>
                <a:gd name="T42" fmla="*/ 360 w 569"/>
                <a:gd name="T43" fmla="*/ 55 h 568"/>
                <a:gd name="T44" fmla="*/ 377 w 569"/>
                <a:gd name="T45" fmla="*/ 71 h 568"/>
                <a:gd name="T46" fmla="*/ 368 w 569"/>
                <a:gd name="T47" fmla="*/ 188 h 568"/>
                <a:gd name="T48" fmla="*/ 284 w 569"/>
                <a:gd name="T49" fmla="*/ 272 h 568"/>
                <a:gd name="T50" fmla="*/ 208 w 569"/>
                <a:gd name="T51" fmla="*/ 240 h 568"/>
                <a:gd name="T52" fmla="*/ 192 w 569"/>
                <a:gd name="T53" fmla="*/ 224 h 568"/>
                <a:gd name="T54" fmla="*/ 159 w 569"/>
                <a:gd name="T55" fmla="*/ 147 h 568"/>
                <a:gd name="T56" fmla="*/ 122 w 569"/>
                <a:gd name="T57" fmla="*/ 310 h 568"/>
                <a:gd name="T58" fmla="*/ 72 w 569"/>
                <a:gd name="T59" fmla="*/ 222 h 568"/>
                <a:gd name="T60" fmla="*/ 41 w 569"/>
                <a:gd name="T61" fmla="*/ 179 h 568"/>
                <a:gd name="T62" fmla="*/ 91 w 569"/>
                <a:gd name="T63" fmla="*/ 212 h 568"/>
                <a:gd name="T64" fmla="*/ 166 w 569"/>
                <a:gd name="T65" fmla="*/ 216 h 568"/>
                <a:gd name="T66" fmla="*/ 272 w 569"/>
                <a:gd name="T67" fmla="*/ 285 h 568"/>
                <a:gd name="T68" fmla="*/ 240 w 569"/>
                <a:gd name="T69" fmla="*/ 361 h 568"/>
                <a:gd name="T70" fmla="*/ 220 w 569"/>
                <a:gd name="T71" fmla="*/ 371 h 568"/>
                <a:gd name="T72" fmla="*/ 368 w 569"/>
                <a:gd name="T73" fmla="*/ 463 h 568"/>
                <a:gd name="T74" fmla="*/ 325 w 569"/>
                <a:gd name="T75" fmla="*/ 506 h 568"/>
                <a:gd name="T76" fmla="*/ 208 w 569"/>
                <a:gd name="T77" fmla="*/ 515 h 568"/>
                <a:gd name="T78" fmla="*/ 198 w 569"/>
                <a:gd name="T79" fmla="*/ 496 h 568"/>
                <a:gd name="T80" fmla="*/ 205 w 569"/>
                <a:gd name="T81" fmla="*/ 381 h 568"/>
                <a:gd name="T82" fmla="*/ 243 w 569"/>
                <a:gd name="T83" fmla="*/ 343 h 568"/>
                <a:gd name="T84" fmla="*/ 358 w 569"/>
                <a:gd name="T85" fmla="*/ 336 h 568"/>
                <a:gd name="T86" fmla="*/ 377 w 569"/>
                <a:gd name="T87" fmla="*/ 346 h 568"/>
                <a:gd name="T88" fmla="*/ 409 w 569"/>
                <a:gd name="T89" fmla="*/ 422 h 568"/>
                <a:gd name="T90" fmla="*/ 514 w 569"/>
                <a:gd name="T91" fmla="*/ 361 h 568"/>
                <a:gd name="T92" fmla="*/ 498 w 569"/>
                <a:gd name="T93" fmla="*/ 377 h 568"/>
                <a:gd name="T94" fmla="*/ 422 w 569"/>
                <a:gd name="T95" fmla="*/ 410 h 568"/>
                <a:gd name="T96" fmla="*/ 353 w 569"/>
                <a:gd name="T97" fmla="*/ 303 h 568"/>
                <a:gd name="T98" fmla="*/ 347 w 569"/>
                <a:gd name="T99" fmla="*/ 222 h 568"/>
                <a:gd name="T100" fmla="*/ 322 w 569"/>
                <a:gd name="T101" fmla="*/ 185 h 568"/>
                <a:gd name="T102" fmla="*/ 372 w 569"/>
                <a:gd name="T103" fmla="*/ 210 h 568"/>
                <a:gd name="T104" fmla="*/ 447 w 569"/>
                <a:gd name="T105" fmla="*/ 260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9" h="568">
                  <a:moveTo>
                    <a:pt x="509" y="222"/>
                  </a:moveTo>
                  <a:cubicBezTo>
                    <a:pt x="507" y="221"/>
                    <a:pt x="505" y="220"/>
                    <a:pt x="503" y="220"/>
                  </a:cubicBezTo>
                  <a:cubicBezTo>
                    <a:pt x="500" y="220"/>
                    <a:pt x="498" y="221"/>
                    <a:pt x="496" y="222"/>
                  </a:cubicBezTo>
                  <a:cubicBezTo>
                    <a:pt x="492" y="227"/>
                    <a:pt x="492" y="227"/>
                    <a:pt x="492" y="227"/>
                  </a:cubicBezTo>
                  <a:cubicBezTo>
                    <a:pt x="490" y="229"/>
                    <a:pt x="489" y="231"/>
                    <a:pt x="489" y="234"/>
                  </a:cubicBezTo>
                  <a:cubicBezTo>
                    <a:pt x="489" y="239"/>
                    <a:pt x="487" y="244"/>
                    <a:pt x="484" y="247"/>
                  </a:cubicBezTo>
                  <a:cubicBezTo>
                    <a:pt x="477" y="254"/>
                    <a:pt x="466" y="254"/>
                    <a:pt x="459" y="247"/>
                  </a:cubicBezTo>
                  <a:cubicBezTo>
                    <a:pt x="456" y="244"/>
                    <a:pt x="454" y="240"/>
                    <a:pt x="454" y="235"/>
                  </a:cubicBezTo>
                  <a:cubicBezTo>
                    <a:pt x="454" y="230"/>
                    <a:pt x="456" y="226"/>
                    <a:pt x="459" y="222"/>
                  </a:cubicBezTo>
                  <a:cubicBezTo>
                    <a:pt x="463" y="219"/>
                    <a:pt x="467" y="217"/>
                    <a:pt x="472" y="217"/>
                  </a:cubicBezTo>
                  <a:cubicBezTo>
                    <a:pt x="475" y="217"/>
                    <a:pt x="477" y="217"/>
                    <a:pt x="479" y="215"/>
                  </a:cubicBezTo>
                  <a:cubicBezTo>
                    <a:pt x="484" y="210"/>
                    <a:pt x="484" y="210"/>
                    <a:pt x="484" y="210"/>
                  </a:cubicBezTo>
                  <a:cubicBezTo>
                    <a:pt x="487" y="206"/>
                    <a:pt x="487" y="201"/>
                    <a:pt x="484" y="197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378" y="91"/>
                    <a:pt x="378" y="91"/>
                    <a:pt x="378" y="91"/>
                  </a:cubicBezTo>
                  <a:cubicBezTo>
                    <a:pt x="380" y="89"/>
                    <a:pt x="380" y="89"/>
                    <a:pt x="380" y="89"/>
                  </a:cubicBezTo>
                  <a:cubicBezTo>
                    <a:pt x="389" y="88"/>
                    <a:pt x="397" y="85"/>
                    <a:pt x="403" y="79"/>
                  </a:cubicBezTo>
                  <a:cubicBezTo>
                    <a:pt x="410" y="72"/>
                    <a:pt x="413" y="63"/>
                    <a:pt x="413" y="54"/>
                  </a:cubicBezTo>
                  <a:cubicBezTo>
                    <a:pt x="413" y="44"/>
                    <a:pt x="410" y="36"/>
                    <a:pt x="403" y="29"/>
                  </a:cubicBezTo>
                  <a:cubicBezTo>
                    <a:pt x="390" y="16"/>
                    <a:pt x="366" y="16"/>
                    <a:pt x="353" y="29"/>
                  </a:cubicBezTo>
                  <a:cubicBezTo>
                    <a:pt x="347" y="35"/>
                    <a:pt x="343" y="43"/>
                    <a:pt x="343" y="52"/>
                  </a:cubicBezTo>
                  <a:cubicBezTo>
                    <a:pt x="340" y="54"/>
                    <a:pt x="340" y="54"/>
                    <a:pt x="340" y="54"/>
                  </a:cubicBezTo>
                  <a:cubicBezTo>
                    <a:pt x="291" y="4"/>
                    <a:pt x="291" y="4"/>
                    <a:pt x="291" y="4"/>
                  </a:cubicBezTo>
                  <a:cubicBezTo>
                    <a:pt x="287" y="0"/>
                    <a:pt x="281" y="0"/>
                    <a:pt x="278" y="4"/>
                  </a:cubicBezTo>
                  <a:cubicBezTo>
                    <a:pt x="222" y="60"/>
                    <a:pt x="222" y="60"/>
                    <a:pt x="222" y="60"/>
                  </a:cubicBezTo>
                  <a:cubicBezTo>
                    <a:pt x="220" y="62"/>
                    <a:pt x="219" y="64"/>
                    <a:pt x="219" y="66"/>
                  </a:cubicBezTo>
                  <a:cubicBezTo>
                    <a:pt x="219" y="69"/>
                    <a:pt x="220" y="71"/>
                    <a:pt x="222" y="73"/>
                  </a:cubicBezTo>
                  <a:cubicBezTo>
                    <a:pt x="227" y="77"/>
                    <a:pt x="227" y="77"/>
                    <a:pt x="227" y="77"/>
                  </a:cubicBezTo>
                  <a:cubicBezTo>
                    <a:pt x="228" y="79"/>
                    <a:pt x="231" y="80"/>
                    <a:pt x="233" y="80"/>
                  </a:cubicBezTo>
                  <a:cubicBezTo>
                    <a:pt x="234" y="80"/>
                    <a:pt x="234" y="80"/>
                    <a:pt x="234" y="80"/>
                  </a:cubicBezTo>
                  <a:cubicBezTo>
                    <a:pt x="239" y="80"/>
                    <a:pt x="244" y="82"/>
                    <a:pt x="247" y="85"/>
                  </a:cubicBezTo>
                  <a:cubicBezTo>
                    <a:pt x="250" y="88"/>
                    <a:pt x="252" y="93"/>
                    <a:pt x="252" y="98"/>
                  </a:cubicBezTo>
                  <a:cubicBezTo>
                    <a:pt x="252" y="102"/>
                    <a:pt x="250" y="107"/>
                    <a:pt x="247" y="110"/>
                  </a:cubicBezTo>
                  <a:cubicBezTo>
                    <a:pt x="240" y="117"/>
                    <a:pt x="229" y="117"/>
                    <a:pt x="222" y="110"/>
                  </a:cubicBezTo>
                  <a:cubicBezTo>
                    <a:pt x="218" y="106"/>
                    <a:pt x="217" y="102"/>
                    <a:pt x="217" y="97"/>
                  </a:cubicBezTo>
                  <a:cubicBezTo>
                    <a:pt x="217" y="94"/>
                    <a:pt x="216" y="92"/>
                    <a:pt x="214" y="90"/>
                  </a:cubicBezTo>
                  <a:cubicBezTo>
                    <a:pt x="209" y="85"/>
                    <a:pt x="209" y="85"/>
                    <a:pt x="209" y="85"/>
                  </a:cubicBezTo>
                  <a:cubicBezTo>
                    <a:pt x="206" y="82"/>
                    <a:pt x="200" y="82"/>
                    <a:pt x="197" y="85"/>
                  </a:cubicBezTo>
                  <a:cubicBezTo>
                    <a:pt x="141" y="141"/>
                    <a:pt x="141" y="141"/>
                    <a:pt x="141" y="141"/>
                  </a:cubicBezTo>
                  <a:cubicBezTo>
                    <a:pt x="91" y="191"/>
                    <a:pt x="91" y="191"/>
                    <a:pt x="91" y="191"/>
                  </a:cubicBezTo>
                  <a:cubicBezTo>
                    <a:pt x="88" y="189"/>
                    <a:pt x="88" y="189"/>
                    <a:pt x="88" y="189"/>
                  </a:cubicBezTo>
                  <a:cubicBezTo>
                    <a:pt x="88" y="180"/>
                    <a:pt x="84" y="172"/>
                    <a:pt x="78" y="166"/>
                  </a:cubicBezTo>
                  <a:cubicBezTo>
                    <a:pt x="65" y="153"/>
                    <a:pt x="42" y="153"/>
                    <a:pt x="28" y="166"/>
                  </a:cubicBezTo>
                  <a:cubicBezTo>
                    <a:pt x="22" y="173"/>
                    <a:pt x="18" y="182"/>
                    <a:pt x="18" y="191"/>
                  </a:cubicBezTo>
                  <a:cubicBezTo>
                    <a:pt x="18" y="201"/>
                    <a:pt x="22" y="209"/>
                    <a:pt x="28" y="216"/>
                  </a:cubicBezTo>
                  <a:cubicBezTo>
                    <a:pt x="34" y="222"/>
                    <a:pt x="42" y="226"/>
                    <a:pt x="51" y="226"/>
                  </a:cubicBezTo>
                  <a:cubicBezTo>
                    <a:pt x="53" y="229"/>
                    <a:pt x="53" y="229"/>
                    <a:pt x="53" y="229"/>
                  </a:cubicBezTo>
                  <a:cubicBezTo>
                    <a:pt x="3" y="278"/>
                    <a:pt x="3" y="278"/>
                    <a:pt x="3" y="278"/>
                  </a:cubicBezTo>
                  <a:cubicBezTo>
                    <a:pt x="0" y="282"/>
                    <a:pt x="0" y="288"/>
                    <a:pt x="3" y="291"/>
                  </a:cubicBezTo>
                  <a:cubicBezTo>
                    <a:pt x="60" y="347"/>
                    <a:pt x="60" y="347"/>
                    <a:pt x="60" y="347"/>
                  </a:cubicBezTo>
                  <a:cubicBezTo>
                    <a:pt x="63" y="351"/>
                    <a:pt x="69" y="351"/>
                    <a:pt x="72" y="347"/>
                  </a:cubicBezTo>
                  <a:cubicBezTo>
                    <a:pt x="77" y="342"/>
                    <a:pt x="77" y="342"/>
                    <a:pt x="77" y="342"/>
                  </a:cubicBezTo>
                  <a:cubicBezTo>
                    <a:pt x="79" y="341"/>
                    <a:pt x="80" y="338"/>
                    <a:pt x="80" y="336"/>
                  </a:cubicBezTo>
                  <a:cubicBezTo>
                    <a:pt x="79" y="330"/>
                    <a:pt x="81" y="326"/>
                    <a:pt x="85" y="322"/>
                  </a:cubicBezTo>
                  <a:cubicBezTo>
                    <a:pt x="91" y="316"/>
                    <a:pt x="103" y="316"/>
                    <a:pt x="109" y="322"/>
                  </a:cubicBezTo>
                  <a:cubicBezTo>
                    <a:pt x="113" y="326"/>
                    <a:pt x="115" y="330"/>
                    <a:pt x="115" y="335"/>
                  </a:cubicBezTo>
                  <a:cubicBezTo>
                    <a:pt x="115" y="339"/>
                    <a:pt x="113" y="344"/>
                    <a:pt x="109" y="347"/>
                  </a:cubicBezTo>
                  <a:cubicBezTo>
                    <a:pt x="106" y="351"/>
                    <a:pt x="101" y="352"/>
                    <a:pt x="96" y="352"/>
                  </a:cubicBezTo>
                  <a:cubicBezTo>
                    <a:pt x="94" y="352"/>
                    <a:pt x="91" y="353"/>
                    <a:pt x="89" y="355"/>
                  </a:cubicBezTo>
                  <a:cubicBezTo>
                    <a:pt x="85" y="360"/>
                    <a:pt x="85" y="360"/>
                    <a:pt x="85" y="360"/>
                  </a:cubicBezTo>
                  <a:cubicBezTo>
                    <a:pt x="81" y="363"/>
                    <a:pt x="81" y="369"/>
                    <a:pt x="85" y="372"/>
                  </a:cubicBezTo>
                  <a:cubicBezTo>
                    <a:pt x="141" y="428"/>
                    <a:pt x="141" y="428"/>
                    <a:pt x="141" y="428"/>
                  </a:cubicBezTo>
                  <a:cubicBezTo>
                    <a:pt x="141" y="428"/>
                    <a:pt x="141" y="428"/>
                    <a:pt x="141" y="428"/>
                  </a:cubicBezTo>
                  <a:cubicBezTo>
                    <a:pt x="191" y="478"/>
                    <a:pt x="191" y="478"/>
                    <a:pt x="191" y="478"/>
                  </a:cubicBezTo>
                  <a:cubicBezTo>
                    <a:pt x="188" y="481"/>
                    <a:pt x="188" y="481"/>
                    <a:pt x="188" y="481"/>
                  </a:cubicBezTo>
                  <a:cubicBezTo>
                    <a:pt x="180" y="481"/>
                    <a:pt x="172" y="485"/>
                    <a:pt x="166" y="491"/>
                  </a:cubicBezTo>
                  <a:cubicBezTo>
                    <a:pt x="152" y="504"/>
                    <a:pt x="152" y="527"/>
                    <a:pt x="166" y="541"/>
                  </a:cubicBezTo>
                  <a:cubicBezTo>
                    <a:pt x="172" y="547"/>
                    <a:pt x="181" y="551"/>
                    <a:pt x="191" y="551"/>
                  </a:cubicBezTo>
                  <a:cubicBezTo>
                    <a:pt x="200" y="551"/>
                    <a:pt x="209" y="547"/>
                    <a:pt x="216" y="541"/>
                  </a:cubicBezTo>
                  <a:cubicBezTo>
                    <a:pt x="222" y="535"/>
                    <a:pt x="225" y="527"/>
                    <a:pt x="226" y="518"/>
                  </a:cubicBezTo>
                  <a:cubicBezTo>
                    <a:pt x="228" y="516"/>
                    <a:pt x="228" y="516"/>
                    <a:pt x="228" y="516"/>
                  </a:cubicBezTo>
                  <a:cubicBezTo>
                    <a:pt x="278" y="566"/>
                    <a:pt x="278" y="566"/>
                    <a:pt x="278" y="566"/>
                  </a:cubicBezTo>
                  <a:cubicBezTo>
                    <a:pt x="280" y="567"/>
                    <a:pt x="282" y="568"/>
                    <a:pt x="284" y="568"/>
                  </a:cubicBezTo>
                  <a:cubicBezTo>
                    <a:pt x="287" y="568"/>
                    <a:pt x="289" y="567"/>
                    <a:pt x="291" y="566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50" y="506"/>
                    <a:pt x="350" y="500"/>
                    <a:pt x="347" y="497"/>
                  </a:cubicBezTo>
                  <a:cubicBezTo>
                    <a:pt x="342" y="492"/>
                    <a:pt x="342" y="492"/>
                    <a:pt x="342" y="492"/>
                  </a:cubicBezTo>
                  <a:cubicBezTo>
                    <a:pt x="340" y="490"/>
                    <a:pt x="338" y="489"/>
                    <a:pt x="335" y="489"/>
                  </a:cubicBezTo>
                  <a:cubicBezTo>
                    <a:pt x="330" y="490"/>
                    <a:pt x="325" y="488"/>
                    <a:pt x="322" y="484"/>
                  </a:cubicBezTo>
                  <a:cubicBezTo>
                    <a:pt x="318" y="481"/>
                    <a:pt x="317" y="477"/>
                    <a:pt x="317" y="472"/>
                  </a:cubicBezTo>
                  <a:cubicBezTo>
                    <a:pt x="317" y="467"/>
                    <a:pt x="318" y="463"/>
                    <a:pt x="322" y="460"/>
                  </a:cubicBezTo>
                  <a:cubicBezTo>
                    <a:pt x="328" y="453"/>
                    <a:pt x="340" y="453"/>
                    <a:pt x="347" y="460"/>
                  </a:cubicBezTo>
                  <a:cubicBezTo>
                    <a:pt x="350" y="463"/>
                    <a:pt x="352" y="468"/>
                    <a:pt x="352" y="473"/>
                  </a:cubicBezTo>
                  <a:cubicBezTo>
                    <a:pt x="352" y="475"/>
                    <a:pt x="352" y="478"/>
                    <a:pt x="354" y="480"/>
                  </a:cubicBezTo>
                  <a:cubicBezTo>
                    <a:pt x="359" y="484"/>
                    <a:pt x="359" y="484"/>
                    <a:pt x="359" y="484"/>
                  </a:cubicBezTo>
                  <a:cubicBezTo>
                    <a:pt x="363" y="488"/>
                    <a:pt x="368" y="488"/>
                    <a:pt x="372" y="484"/>
                  </a:cubicBezTo>
                  <a:cubicBezTo>
                    <a:pt x="428" y="428"/>
                    <a:pt x="428" y="428"/>
                    <a:pt x="428" y="428"/>
                  </a:cubicBezTo>
                  <a:cubicBezTo>
                    <a:pt x="428" y="428"/>
                    <a:pt x="428" y="428"/>
                    <a:pt x="428" y="428"/>
                  </a:cubicBezTo>
                  <a:cubicBezTo>
                    <a:pt x="478" y="378"/>
                    <a:pt x="478" y="378"/>
                    <a:pt x="478" y="378"/>
                  </a:cubicBezTo>
                  <a:cubicBezTo>
                    <a:pt x="480" y="381"/>
                    <a:pt x="480" y="381"/>
                    <a:pt x="480" y="381"/>
                  </a:cubicBezTo>
                  <a:cubicBezTo>
                    <a:pt x="481" y="389"/>
                    <a:pt x="484" y="397"/>
                    <a:pt x="490" y="403"/>
                  </a:cubicBezTo>
                  <a:cubicBezTo>
                    <a:pt x="504" y="417"/>
                    <a:pt x="526" y="417"/>
                    <a:pt x="540" y="403"/>
                  </a:cubicBezTo>
                  <a:cubicBezTo>
                    <a:pt x="547" y="397"/>
                    <a:pt x="551" y="388"/>
                    <a:pt x="551" y="378"/>
                  </a:cubicBezTo>
                  <a:cubicBezTo>
                    <a:pt x="551" y="369"/>
                    <a:pt x="547" y="360"/>
                    <a:pt x="540" y="353"/>
                  </a:cubicBezTo>
                  <a:cubicBezTo>
                    <a:pt x="534" y="347"/>
                    <a:pt x="526" y="344"/>
                    <a:pt x="517" y="343"/>
                  </a:cubicBezTo>
                  <a:cubicBezTo>
                    <a:pt x="515" y="341"/>
                    <a:pt x="515" y="341"/>
                    <a:pt x="515" y="341"/>
                  </a:cubicBezTo>
                  <a:cubicBezTo>
                    <a:pt x="565" y="291"/>
                    <a:pt x="565" y="291"/>
                    <a:pt x="565" y="291"/>
                  </a:cubicBezTo>
                  <a:cubicBezTo>
                    <a:pt x="569" y="288"/>
                    <a:pt x="569" y="282"/>
                    <a:pt x="565" y="278"/>
                  </a:cubicBezTo>
                  <a:lnTo>
                    <a:pt x="509" y="222"/>
                  </a:lnTo>
                  <a:close/>
                  <a:moveTo>
                    <a:pt x="200" y="107"/>
                  </a:moveTo>
                  <a:cubicBezTo>
                    <a:pt x="202" y="113"/>
                    <a:pt x="205" y="118"/>
                    <a:pt x="209" y="123"/>
                  </a:cubicBezTo>
                  <a:cubicBezTo>
                    <a:pt x="223" y="136"/>
                    <a:pt x="246" y="136"/>
                    <a:pt x="259" y="123"/>
                  </a:cubicBezTo>
                  <a:cubicBezTo>
                    <a:pt x="266" y="116"/>
                    <a:pt x="270" y="107"/>
                    <a:pt x="270" y="98"/>
                  </a:cubicBezTo>
                  <a:cubicBezTo>
                    <a:pt x="270" y="88"/>
                    <a:pt x="266" y="79"/>
                    <a:pt x="259" y="73"/>
                  </a:cubicBezTo>
                  <a:cubicBezTo>
                    <a:pt x="255" y="68"/>
                    <a:pt x="249" y="65"/>
                    <a:pt x="243" y="63"/>
                  </a:cubicBezTo>
                  <a:cubicBezTo>
                    <a:pt x="284" y="23"/>
                    <a:pt x="284" y="23"/>
                    <a:pt x="284" y="23"/>
                  </a:cubicBezTo>
                  <a:cubicBezTo>
                    <a:pt x="334" y="73"/>
                    <a:pt x="334" y="73"/>
                    <a:pt x="334" y="73"/>
                  </a:cubicBezTo>
                  <a:cubicBezTo>
                    <a:pt x="338" y="76"/>
                    <a:pt x="343" y="76"/>
                    <a:pt x="347" y="73"/>
                  </a:cubicBezTo>
                  <a:cubicBezTo>
                    <a:pt x="358" y="61"/>
                    <a:pt x="358" y="61"/>
                    <a:pt x="358" y="61"/>
                  </a:cubicBezTo>
                  <a:cubicBezTo>
                    <a:pt x="360" y="60"/>
                    <a:pt x="361" y="57"/>
                    <a:pt x="360" y="55"/>
                  </a:cubicBezTo>
                  <a:cubicBezTo>
                    <a:pt x="360" y="50"/>
                    <a:pt x="362" y="45"/>
                    <a:pt x="365" y="41"/>
                  </a:cubicBezTo>
                  <a:cubicBezTo>
                    <a:pt x="372" y="35"/>
                    <a:pt x="384" y="35"/>
                    <a:pt x="390" y="41"/>
                  </a:cubicBezTo>
                  <a:cubicBezTo>
                    <a:pt x="397" y="48"/>
                    <a:pt x="397" y="59"/>
                    <a:pt x="390" y="66"/>
                  </a:cubicBezTo>
                  <a:cubicBezTo>
                    <a:pt x="387" y="70"/>
                    <a:pt x="383" y="71"/>
                    <a:pt x="378" y="71"/>
                  </a:cubicBezTo>
                  <a:cubicBezTo>
                    <a:pt x="377" y="71"/>
                    <a:pt x="377" y="71"/>
                    <a:pt x="377" y="71"/>
                  </a:cubicBezTo>
                  <a:cubicBezTo>
                    <a:pt x="374" y="71"/>
                    <a:pt x="372" y="72"/>
                    <a:pt x="370" y="74"/>
                  </a:cubicBezTo>
                  <a:cubicBezTo>
                    <a:pt x="359" y="85"/>
                    <a:pt x="359" y="85"/>
                    <a:pt x="359" y="85"/>
                  </a:cubicBezTo>
                  <a:cubicBezTo>
                    <a:pt x="356" y="89"/>
                    <a:pt x="356" y="94"/>
                    <a:pt x="359" y="98"/>
                  </a:cubicBezTo>
                  <a:cubicBezTo>
                    <a:pt x="409" y="147"/>
                    <a:pt x="409" y="147"/>
                    <a:pt x="409" y="147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82"/>
                    <a:pt x="364" y="177"/>
                    <a:pt x="359" y="172"/>
                  </a:cubicBezTo>
                  <a:cubicBezTo>
                    <a:pt x="346" y="159"/>
                    <a:pt x="323" y="159"/>
                    <a:pt x="309" y="172"/>
                  </a:cubicBezTo>
                  <a:cubicBezTo>
                    <a:pt x="295" y="186"/>
                    <a:pt x="295" y="209"/>
                    <a:pt x="309" y="222"/>
                  </a:cubicBezTo>
                  <a:cubicBezTo>
                    <a:pt x="314" y="227"/>
                    <a:pt x="319" y="230"/>
                    <a:pt x="325" y="231"/>
                  </a:cubicBezTo>
                  <a:cubicBezTo>
                    <a:pt x="284" y="272"/>
                    <a:pt x="284" y="272"/>
                    <a:pt x="284" y="272"/>
                  </a:cubicBezTo>
                  <a:cubicBezTo>
                    <a:pt x="234" y="222"/>
                    <a:pt x="234" y="222"/>
                    <a:pt x="234" y="222"/>
                  </a:cubicBezTo>
                  <a:cubicBezTo>
                    <a:pt x="233" y="221"/>
                    <a:pt x="230" y="220"/>
                    <a:pt x="228" y="220"/>
                  </a:cubicBezTo>
                  <a:cubicBezTo>
                    <a:pt x="226" y="220"/>
                    <a:pt x="223" y="221"/>
                    <a:pt x="222" y="222"/>
                  </a:cubicBezTo>
                  <a:cubicBezTo>
                    <a:pt x="211" y="233"/>
                    <a:pt x="211" y="233"/>
                    <a:pt x="211" y="233"/>
                  </a:cubicBezTo>
                  <a:cubicBezTo>
                    <a:pt x="209" y="235"/>
                    <a:pt x="208" y="238"/>
                    <a:pt x="208" y="240"/>
                  </a:cubicBezTo>
                  <a:cubicBezTo>
                    <a:pt x="208" y="245"/>
                    <a:pt x="207" y="250"/>
                    <a:pt x="203" y="254"/>
                  </a:cubicBezTo>
                  <a:cubicBezTo>
                    <a:pt x="196" y="260"/>
                    <a:pt x="185" y="260"/>
                    <a:pt x="178" y="254"/>
                  </a:cubicBezTo>
                  <a:cubicBezTo>
                    <a:pt x="171" y="247"/>
                    <a:pt x="171" y="235"/>
                    <a:pt x="178" y="229"/>
                  </a:cubicBezTo>
                  <a:cubicBezTo>
                    <a:pt x="181" y="225"/>
                    <a:pt x="186" y="224"/>
                    <a:pt x="191" y="224"/>
                  </a:cubicBezTo>
                  <a:cubicBezTo>
                    <a:pt x="192" y="224"/>
                    <a:pt x="192" y="224"/>
                    <a:pt x="192" y="224"/>
                  </a:cubicBezTo>
                  <a:cubicBezTo>
                    <a:pt x="194" y="224"/>
                    <a:pt x="197" y="223"/>
                    <a:pt x="198" y="221"/>
                  </a:cubicBezTo>
                  <a:cubicBezTo>
                    <a:pt x="209" y="210"/>
                    <a:pt x="209" y="210"/>
                    <a:pt x="209" y="210"/>
                  </a:cubicBezTo>
                  <a:cubicBezTo>
                    <a:pt x="211" y="208"/>
                    <a:pt x="212" y="206"/>
                    <a:pt x="212" y="204"/>
                  </a:cubicBezTo>
                  <a:cubicBezTo>
                    <a:pt x="212" y="201"/>
                    <a:pt x="211" y="199"/>
                    <a:pt x="209" y="197"/>
                  </a:cubicBezTo>
                  <a:cubicBezTo>
                    <a:pt x="159" y="147"/>
                    <a:pt x="159" y="147"/>
                    <a:pt x="159" y="147"/>
                  </a:cubicBezTo>
                  <a:lnTo>
                    <a:pt x="200" y="107"/>
                  </a:lnTo>
                  <a:close/>
                  <a:moveTo>
                    <a:pt x="106" y="369"/>
                  </a:moveTo>
                  <a:cubicBezTo>
                    <a:pt x="112" y="367"/>
                    <a:pt x="118" y="364"/>
                    <a:pt x="122" y="360"/>
                  </a:cubicBezTo>
                  <a:cubicBezTo>
                    <a:pt x="129" y="353"/>
                    <a:pt x="132" y="344"/>
                    <a:pt x="132" y="335"/>
                  </a:cubicBezTo>
                  <a:cubicBezTo>
                    <a:pt x="132" y="325"/>
                    <a:pt x="129" y="316"/>
                    <a:pt x="122" y="310"/>
                  </a:cubicBezTo>
                  <a:cubicBezTo>
                    <a:pt x="108" y="296"/>
                    <a:pt x="86" y="296"/>
                    <a:pt x="72" y="310"/>
                  </a:cubicBezTo>
                  <a:cubicBezTo>
                    <a:pt x="68" y="314"/>
                    <a:pt x="65" y="320"/>
                    <a:pt x="63" y="326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72" y="235"/>
                    <a:pt x="72" y="235"/>
                    <a:pt x="72" y="235"/>
                  </a:cubicBezTo>
                  <a:cubicBezTo>
                    <a:pt x="76" y="231"/>
                    <a:pt x="76" y="226"/>
                    <a:pt x="72" y="222"/>
                  </a:cubicBezTo>
                  <a:cubicBezTo>
                    <a:pt x="61" y="211"/>
                    <a:pt x="61" y="211"/>
                    <a:pt x="61" y="211"/>
                  </a:cubicBezTo>
                  <a:cubicBezTo>
                    <a:pt x="59" y="209"/>
                    <a:pt x="57" y="209"/>
                    <a:pt x="54" y="209"/>
                  </a:cubicBezTo>
                  <a:cubicBezTo>
                    <a:pt x="49" y="209"/>
                    <a:pt x="44" y="207"/>
                    <a:pt x="41" y="204"/>
                  </a:cubicBezTo>
                  <a:cubicBezTo>
                    <a:pt x="38" y="200"/>
                    <a:pt x="36" y="196"/>
                    <a:pt x="36" y="191"/>
                  </a:cubicBezTo>
                  <a:cubicBezTo>
                    <a:pt x="36" y="186"/>
                    <a:pt x="38" y="182"/>
                    <a:pt x="41" y="179"/>
                  </a:cubicBezTo>
                  <a:cubicBezTo>
                    <a:pt x="48" y="172"/>
                    <a:pt x="59" y="172"/>
                    <a:pt x="66" y="179"/>
                  </a:cubicBezTo>
                  <a:cubicBezTo>
                    <a:pt x="69" y="182"/>
                    <a:pt x="71" y="187"/>
                    <a:pt x="71" y="192"/>
                  </a:cubicBezTo>
                  <a:cubicBezTo>
                    <a:pt x="71" y="195"/>
                    <a:pt x="72" y="197"/>
                    <a:pt x="73" y="199"/>
                  </a:cubicBezTo>
                  <a:cubicBezTo>
                    <a:pt x="85" y="210"/>
                    <a:pt x="85" y="210"/>
                    <a:pt x="85" y="210"/>
                  </a:cubicBezTo>
                  <a:cubicBezTo>
                    <a:pt x="86" y="212"/>
                    <a:pt x="88" y="212"/>
                    <a:pt x="91" y="212"/>
                  </a:cubicBezTo>
                  <a:cubicBezTo>
                    <a:pt x="93" y="212"/>
                    <a:pt x="95" y="212"/>
                    <a:pt x="97" y="210"/>
                  </a:cubicBezTo>
                  <a:cubicBezTo>
                    <a:pt x="147" y="160"/>
                    <a:pt x="147" y="160"/>
                    <a:pt x="147" y="160"/>
                  </a:cubicBezTo>
                  <a:cubicBezTo>
                    <a:pt x="191" y="204"/>
                    <a:pt x="191" y="204"/>
                    <a:pt x="191" y="204"/>
                  </a:cubicBezTo>
                  <a:cubicBezTo>
                    <a:pt x="188" y="206"/>
                    <a:pt x="188" y="206"/>
                    <a:pt x="188" y="206"/>
                  </a:cubicBezTo>
                  <a:cubicBezTo>
                    <a:pt x="180" y="206"/>
                    <a:pt x="172" y="210"/>
                    <a:pt x="166" y="216"/>
                  </a:cubicBezTo>
                  <a:cubicBezTo>
                    <a:pt x="152" y="230"/>
                    <a:pt x="152" y="252"/>
                    <a:pt x="166" y="266"/>
                  </a:cubicBezTo>
                  <a:cubicBezTo>
                    <a:pt x="179" y="279"/>
                    <a:pt x="202" y="279"/>
                    <a:pt x="216" y="266"/>
                  </a:cubicBezTo>
                  <a:cubicBezTo>
                    <a:pt x="222" y="260"/>
                    <a:pt x="225" y="252"/>
                    <a:pt x="226" y="243"/>
                  </a:cubicBezTo>
                  <a:cubicBezTo>
                    <a:pt x="228" y="241"/>
                    <a:pt x="228" y="241"/>
                    <a:pt x="228" y="241"/>
                  </a:cubicBezTo>
                  <a:cubicBezTo>
                    <a:pt x="272" y="285"/>
                    <a:pt x="272" y="285"/>
                    <a:pt x="272" y="285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20" y="336"/>
                    <a:pt x="219" y="339"/>
                    <a:pt x="219" y="341"/>
                  </a:cubicBezTo>
                  <a:cubicBezTo>
                    <a:pt x="219" y="343"/>
                    <a:pt x="220" y="346"/>
                    <a:pt x="222" y="347"/>
                  </a:cubicBezTo>
                  <a:cubicBezTo>
                    <a:pt x="233" y="358"/>
                    <a:pt x="233" y="358"/>
                    <a:pt x="233" y="358"/>
                  </a:cubicBezTo>
                  <a:cubicBezTo>
                    <a:pt x="235" y="360"/>
                    <a:pt x="237" y="361"/>
                    <a:pt x="240" y="361"/>
                  </a:cubicBezTo>
                  <a:cubicBezTo>
                    <a:pt x="245" y="361"/>
                    <a:pt x="250" y="362"/>
                    <a:pt x="253" y="366"/>
                  </a:cubicBezTo>
                  <a:cubicBezTo>
                    <a:pt x="260" y="373"/>
                    <a:pt x="260" y="384"/>
                    <a:pt x="253" y="391"/>
                  </a:cubicBezTo>
                  <a:cubicBezTo>
                    <a:pt x="246" y="398"/>
                    <a:pt x="235" y="398"/>
                    <a:pt x="228" y="391"/>
                  </a:cubicBezTo>
                  <a:cubicBezTo>
                    <a:pt x="225" y="387"/>
                    <a:pt x="223" y="383"/>
                    <a:pt x="223" y="377"/>
                  </a:cubicBezTo>
                  <a:cubicBezTo>
                    <a:pt x="223" y="375"/>
                    <a:pt x="222" y="373"/>
                    <a:pt x="220" y="371"/>
                  </a:cubicBezTo>
                  <a:cubicBezTo>
                    <a:pt x="209" y="360"/>
                    <a:pt x="209" y="360"/>
                    <a:pt x="209" y="360"/>
                  </a:cubicBezTo>
                  <a:cubicBezTo>
                    <a:pt x="206" y="356"/>
                    <a:pt x="200" y="356"/>
                    <a:pt x="197" y="360"/>
                  </a:cubicBezTo>
                  <a:cubicBezTo>
                    <a:pt x="147" y="410"/>
                    <a:pt x="147" y="410"/>
                    <a:pt x="147" y="410"/>
                  </a:cubicBezTo>
                  <a:lnTo>
                    <a:pt x="106" y="369"/>
                  </a:lnTo>
                  <a:close/>
                  <a:moveTo>
                    <a:pt x="368" y="463"/>
                  </a:moveTo>
                  <a:cubicBezTo>
                    <a:pt x="367" y="457"/>
                    <a:pt x="364" y="451"/>
                    <a:pt x="359" y="447"/>
                  </a:cubicBezTo>
                  <a:cubicBezTo>
                    <a:pt x="346" y="434"/>
                    <a:pt x="323" y="434"/>
                    <a:pt x="309" y="447"/>
                  </a:cubicBezTo>
                  <a:cubicBezTo>
                    <a:pt x="303" y="454"/>
                    <a:pt x="299" y="463"/>
                    <a:pt x="299" y="472"/>
                  </a:cubicBezTo>
                  <a:cubicBezTo>
                    <a:pt x="299" y="481"/>
                    <a:pt x="303" y="490"/>
                    <a:pt x="309" y="497"/>
                  </a:cubicBezTo>
                  <a:cubicBezTo>
                    <a:pt x="314" y="501"/>
                    <a:pt x="319" y="504"/>
                    <a:pt x="325" y="506"/>
                  </a:cubicBezTo>
                  <a:cubicBezTo>
                    <a:pt x="284" y="547"/>
                    <a:pt x="284" y="547"/>
                    <a:pt x="284" y="547"/>
                  </a:cubicBezTo>
                  <a:cubicBezTo>
                    <a:pt x="234" y="497"/>
                    <a:pt x="234" y="497"/>
                    <a:pt x="234" y="497"/>
                  </a:cubicBezTo>
                  <a:cubicBezTo>
                    <a:pt x="231" y="494"/>
                    <a:pt x="225" y="494"/>
                    <a:pt x="222" y="497"/>
                  </a:cubicBezTo>
                  <a:cubicBezTo>
                    <a:pt x="211" y="508"/>
                    <a:pt x="211" y="508"/>
                    <a:pt x="211" y="508"/>
                  </a:cubicBezTo>
                  <a:cubicBezTo>
                    <a:pt x="209" y="510"/>
                    <a:pt x="208" y="512"/>
                    <a:pt x="208" y="515"/>
                  </a:cubicBezTo>
                  <a:cubicBezTo>
                    <a:pt x="208" y="520"/>
                    <a:pt x="207" y="525"/>
                    <a:pt x="203" y="528"/>
                  </a:cubicBezTo>
                  <a:cubicBezTo>
                    <a:pt x="196" y="535"/>
                    <a:pt x="185" y="535"/>
                    <a:pt x="178" y="528"/>
                  </a:cubicBezTo>
                  <a:cubicBezTo>
                    <a:pt x="171" y="521"/>
                    <a:pt x="171" y="510"/>
                    <a:pt x="178" y="503"/>
                  </a:cubicBezTo>
                  <a:cubicBezTo>
                    <a:pt x="182" y="500"/>
                    <a:pt x="186" y="498"/>
                    <a:pt x="192" y="498"/>
                  </a:cubicBezTo>
                  <a:cubicBezTo>
                    <a:pt x="194" y="498"/>
                    <a:pt x="197" y="497"/>
                    <a:pt x="198" y="496"/>
                  </a:cubicBezTo>
                  <a:cubicBezTo>
                    <a:pt x="209" y="484"/>
                    <a:pt x="209" y="484"/>
                    <a:pt x="209" y="484"/>
                  </a:cubicBezTo>
                  <a:cubicBezTo>
                    <a:pt x="213" y="481"/>
                    <a:pt x="213" y="475"/>
                    <a:pt x="209" y="472"/>
                  </a:cubicBezTo>
                  <a:cubicBezTo>
                    <a:pt x="159" y="422"/>
                    <a:pt x="159" y="422"/>
                    <a:pt x="159" y="422"/>
                  </a:cubicBezTo>
                  <a:cubicBezTo>
                    <a:pt x="203" y="378"/>
                    <a:pt x="203" y="378"/>
                    <a:pt x="203" y="378"/>
                  </a:cubicBezTo>
                  <a:cubicBezTo>
                    <a:pt x="205" y="381"/>
                    <a:pt x="205" y="381"/>
                    <a:pt x="205" y="381"/>
                  </a:cubicBezTo>
                  <a:cubicBezTo>
                    <a:pt x="206" y="389"/>
                    <a:pt x="210" y="397"/>
                    <a:pt x="216" y="403"/>
                  </a:cubicBezTo>
                  <a:cubicBezTo>
                    <a:pt x="229" y="417"/>
                    <a:pt x="252" y="417"/>
                    <a:pt x="266" y="403"/>
                  </a:cubicBezTo>
                  <a:cubicBezTo>
                    <a:pt x="272" y="397"/>
                    <a:pt x="276" y="388"/>
                    <a:pt x="276" y="378"/>
                  </a:cubicBezTo>
                  <a:cubicBezTo>
                    <a:pt x="276" y="369"/>
                    <a:pt x="272" y="360"/>
                    <a:pt x="266" y="353"/>
                  </a:cubicBezTo>
                  <a:cubicBezTo>
                    <a:pt x="260" y="347"/>
                    <a:pt x="251" y="344"/>
                    <a:pt x="243" y="343"/>
                  </a:cubicBezTo>
                  <a:cubicBezTo>
                    <a:pt x="241" y="341"/>
                    <a:pt x="241" y="341"/>
                    <a:pt x="241" y="341"/>
                  </a:cubicBezTo>
                  <a:cubicBezTo>
                    <a:pt x="284" y="297"/>
                    <a:pt x="284" y="297"/>
                    <a:pt x="284" y="297"/>
                  </a:cubicBezTo>
                  <a:cubicBezTo>
                    <a:pt x="334" y="347"/>
                    <a:pt x="334" y="347"/>
                    <a:pt x="334" y="347"/>
                  </a:cubicBezTo>
                  <a:cubicBezTo>
                    <a:pt x="338" y="351"/>
                    <a:pt x="343" y="351"/>
                    <a:pt x="347" y="347"/>
                  </a:cubicBezTo>
                  <a:cubicBezTo>
                    <a:pt x="358" y="336"/>
                    <a:pt x="358" y="336"/>
                    <a:pt x="358" y="336"/>
                  </a:cubicBezTo>
                  <a:cubicBezTo>
                    <a:pt x="360" y="334"/>
                    <a:pt x="361" y="332"/>
                    <a:pt x="360" y="329"/>
                  </a:cubicBezTo>
                  <a:cubicBezTo>
                    <a:pt x="360" y="324"/>
                    <a:pt x="362" y="320"/>
                    <a:pt x="365" y="316"/>
                  </a:cubicBezTo>
                  <a:cubicBezTo>
                    <a:pt x="372" y="309"/>
                    <a:pt x="383" y="309"/>
                    <a:pt x="390" y="316"/>
                  </a:cubicBezTo>
                  <a:cubicBezTo>
                    <a:pt x="397" y="323"/>
                    <a:pt x="397" y="334"/>
                    <a:pt x="390" y="341"/>
                  </a:cubicBezTo>
                  <a:cubicBezTo>
                    <a:pt x="387" y="344"/>
                    <a:pt x="382" y="346"/>
                    <a:pt x="377" y="346"/>
                  </a:cubicBezTo>
                  <a:cubicBezTo>
                    <a:pt x="375" y="346"/>
                    <a:pt x="372" y="347"/>
                    <a:pt x="370" y="349"/>
                  </a:cubicBezTo>
                  <a:cubicBezTo>
                    <a:pt x="359" y="360"/>
                    <a:pt x="359" y="360"/>
                    <a:pt x="359" y="360"/>
                  </a:cubicBezTo>
                  <a:cubicBezTo>
                    <a:pt x="357" y="361"/>
                    <a:pt x="357" y="364"/>
                    <a:pt x="357" y="366"/>
                  </a:cubicBezTo>
                  <a:cubicBezTo>
                    <a:pt x="357" y="368"/>
                    <a:pt x="357" y="371"/>
                    <a:pt x="359" y="372"/>
                  </a:cubicBezTo>
                  <a:cubicBezTo>
                    <a:pt x="409" y="422"/>
                    <a:pt x="409" y="422"/>
                    <a:pt x="409" y="422"/>
                  </a:cubicBezTo>
                  <a:lnTo>
                    <a:pt x="368" y="463"/>
                  </a:lnTo>
                  <a:close/>
                  <a:moveTo>
                    <a:pt x="496" y="335"/>
                  </a:moveTo>
                  <a:cubicBezTo>
                    <a:pt x="493" y="338"/>
                    <a:pt x="493" y="344"/>
                    <a:pt x="496" y="347"/>
                  </a:cubicBezTo>
                  <a:cubicBezTo>
                    <a:pt x="508" y="358"/>
                    <a:pt x="508" y="358"/>
                    <a:pt x="508" y="358"/>
                  </a:cubicBezTo>
                  <a:cubicBezTo>
                    <a:pt x="509" y="360"/>
                    <a:pt x="512" y="361"/>
                    <a:pt x="514" y="361"/>
                  </a:cubicBezTo>
                  <a:cubicBezTo>
                    <a:pt x="519" y="361"/>
                    <a:pt x="524" y="362"/>
                    <a:pt x="528" y="366"/>
                  </a:cubicBezTo>
                  <a:cubicBezTo>
                    <a:pt x="531" y="369"/>
                    <a:pt x="533" y="374"/>
                    <a:pt x="533" y="378"/>
                  </a:cubicBezTo>
                  <a:cubicBezTo>
                    <a:pt x="533" y="383"/>
                    <a:pt x="531" y="388"/>
                    <a:pt x="528" y="391"/>
                  </a:cubicBezTo>
                  <a:cubicBezTo>
                    <a:pt x="521" y="398"/>
                    <a:pt x="510" y="398"/>
                    <a:pt x="503" y="391"/>
                  </a:cubicBezTo>
                  <a:cubicBezTo>
                    <a:pt x="499" y="387"/>
                    <a:pt x="497" y="383"/>
                    <a:pt x="498" y="377"/>
                  </a:cubicBezTo>
                  <a:cubicBezTo>
                    <a:pt x="498" y="375"/>
                    <a:pt x="497" y="373"/>
                    <a:pt x="495" y="371"/>
                  </a:cubicBezTo>
                  <a:cubicBezTo>
                    <a:pt x="484" y="360"/>
                    <a:pt x="484" y="360"/>
                    <a:pt x="484" y="360"/>
                  </a:cubicBezTo>
                  <a:cubicBezTo>
                    <a:pt x="482" y="358"/>
                    <a:pt x="480" y="357"/>
                    <a:pt x="478" y="357"/>
                  </a:cubicBezTo>
                  <a:cubicBezTo>
                    <a:pt x="475" y="357"/>
                    <a:pt x="473" y="358"/>
                    <a:pt x="471" y="360"/>
                  </a:cubicBezTo>
                  <a:cubicBezTo>
                    <a:pt x="422" y="410"/>
                    <a:pt x="422" y="410"/>
                    <a:pt x="422" y="410"/>
                  </a:cubicBezTo>
                  <a:cubicBezTo>
                    <a:pt x="378" y="366"/>
                    <a:pt x="378" y="366"/>
                    <a:pt x="378" y="366"/>
                  </a:cubicBezTo>
                  <a:cubicBezTo>
                    <a:pt x="380" y="364"/>
                    <a:pt x="380" y="364"/>
                    <a:pt x="380" y="364"/>
                  </a:cubicBezTo>
                  <a:cubicBezTo>
                    <a:pt x="389" y="363"/>
                    <a:pt x="397" y="359"/>
                    <a:pt x="403" y="353"/>
                  </a:cubicBezTo>
                  <a:cubicBezTo>
                    <a:pt x="417" y="340"/>
                    <a:pt x="417" y="317"/>
                    <a:pt x="403" y="303"/>
                  </a:cubicBezTo>
                  <a:cubicBezTo>
                    <a:pt x="389" y="290"/>
                    <a:pt x="367" y="290"/>
                    <a:pt x="353" y="303"/>
                  </a:cubicBezTo>
                  <a:cubicBezTo>
                    <a:pt x="347" y="310"/>
                    <a:pt x="343" y="318"/>
                    <a:pt x="343" y="326"/>
                  </a:cubicBezTo>
                  <a:cubicBezTo>
                    <a:pt x="340" y="328"/>
                    <a:pt x="340" y="328"/>
                    <a:pt x="340" y="328"/>
                  </a:cubicBezTo>
                  <a:cubicBezTo>
                    <a:pt x="297" y="285"/>
                    <a:pt x="297" y="285"/>
                    <a:pt x="297" y="285"/>
                  </a:cubicBezTo>
                  <a:cubicBezTo>
                    <a:pt x="347" y="235"/>
                    <a:pt x="347" y="235"/>
                    <a:pt x="347" y="235"/>
                  </a:cubicBezTo>
                  <a:cubicBezTo>
                    <a:pt x="350" y="231"/>
                    <a:pt x="350" y="226"/>
                    <a:pt x="347" y="222"/>
                  </a:cubicBezTo>
                  <a:cubicBezTo>
                    <a:pt x="342" y="217"/>
                    <a:pt x="342" y="217"/>
                    <a:pt x="342" y="217"/>
                  </a:cubicBezTo>
                  <a:cubicBezTo>
                    <a:pt x="340" y="216"/>
                    <a:pt x="338" y="215"/>
                    <a:pt x="335" y="215"/>
                  </a:cubicBezTo>
                  <a:cubicBezTo>
                    <a:pt x="334" y="215"/>
                    <a:pt x="334" y="215"/>
                    <a:pt x="334" y="215"/>
                  </a:cubicBezTo>
                  <a:cubicBezTo>
                    <a:pt x="329" y="215"/>
                    <a:pt x="325" y="213"/>
                    <a:pt x="322" y="210"/>
                  </a:cubicBezTo>
                  <a:cubicBezTo>
                    <a:pt x="315" y="203"/>
                    <a:pt x="315" y="192"/>
                    <a:pt x="322" y="185"/>
                  </a:cubicBezTo>
                  <a:cubicBezTo>
                    <a:pt x="328" y="178"/>
                    <a:pt x="340" y="178"/>
                    <a:pt x="347" y="185"/>
                  </a:cubicBezTo>
                  <a:cubicBezTo>
                    <a:pt x="350" y="188"/>
                    <a:pt x="352" y="193"/>
                    <a:pt x="352" y="198"/>
                  </a:cubicBezTo>
                  <a:cubicBezTo>
                    <a:pt x="352" y="201"/>
                    <a:pt x="352" y="203"/>
                    <a:pt x="354" y="205"/>
                  </a:cubicBezTo>
                  <a:cubicBezTo>
                    <a:pt x="359" y="210"/>
                    <a:pt x="359" y="210"/>
                    <a:pt x="359" y="210"/>
                  </a:cubicBezTo>
                  <a:cubicBezTo>
                    <a:pt x="363" y="213"/>
                    <a:pt x="368" y="213"/>
                    <a:pt x="372" y="210"/>
                  </a:cubicBezTo>
                  <a:cubicBezTo>
                    <a:pt x="422" y="160"/>
                    <a:pt x="422" y="160"/>
                    <a:pt x="422" y="160"/>
                  </a:cubicBezTo>
                  <a:cubicBezTo>
                    <a:pt x="462" y="201"/>
                    <a:pt x="462" y="201"/>
                    <a:pt x="462" y="201"/>
                  </a:cubicBezTo>
                  <a:cubicBezTo>
                    <a:pt x="456" y="202"/>
                    <a:pt x="451" y="205"/>
                    <a:pt x="447" y="210"/>
                  </a:cubicBezTo>
                  <a:cubicBezTo>
                    <a:pt x="440" y="217"/>
                    <a:pt x="436" y="225"/>
                    <a:pt x="436" y="235"/>
                  </a:cubicBezTo>
                  <a:cubicBezTo>
                    <a:pt x="436" y="244"/>
                    <a:pt x="440" y="253"/>
                    <a:pt x="447" y="260"/>
                  </a:cubicBezTo>
                  <a:cubicBezTo>
                    <a:pt x="460" y="273"/>
                    <a:pt x="483" y="273"/>
                    <a:pt x="496" y="260"/>
                  </a:cubicBezTo>
                  <a:cubicBezTo>
                    <a:pt x="501" y="255"/>
                    <a:pt x="504" y="250"/>
                    <a:pt x="506" y="244"/>
                  </a:cubicBezTo>
                  <a:cubicBezTo>
                    <a:pt x="546" y="285"/>
                    <a:pt x="546" y="285"/>
                    <a:pt x="546" y="285"/>
                  </a:cubicBezTo>
                  <a:lnTo>
                    <a:pt x="496" y="335"/>
                  </a:lnTo>
                  <a:close/>
                </a:path>
              </a:pathLst>
            </a:custGeom>
            <a:grpFill/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</p:grpSp>
      <p:grpSp>
        <p:nvGrpSpPr>
          <p:cNvPr id="49" name="Group 36">
            <a:extLst>
              <a:ext uri="{FF2B5EF4-FFF2-40B4-BE49-F238E27FC236}">
                <a16:creationId xmlns:a16="http://schemas.microsoft.com/office/drawing/2014/main" id="{F748816C-095A-4203-8639-9376353B5A1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18584" y="2178373"/>
            <a:ext cx="317417" cy="330113"/>
            <a:chOff x="2154" y="1372"/>
            <a:chExt cx="200" cy="208"/>
          </a:xfrm>
        </p:grpSpPr>
        <p:sp>
          <p:nvSpPr>
            <p:cNvPr id="51" name="Freeform 37">
              <a:extLst>
                <a:ext uri="{FF2B5EF4-FFF2-40B4-BE49-F238E27FC236}">
                  <a16:creationId xmlns:a16="http://schemas.microsoft.com/office/drawing/2014/main" id="{9FEE6482-69BF-4D85-AF52-A1B12CCD0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2" y="1411"/>
              <a:ext cx="30" cy="30"/>
            </a:xfrm>
            <a:custGeom>
              <a:avLst/>
              <a:gdLst>
                <a:gd name="T0" fmla="*/ 5 w 25"/>
                <a:gd name="T1" fmla="*/ 4 h 25"/>
                <a:gd name="T2" fmla="*/ 5 w 25"/>
                <a:gd name="T3" fmla="*/ 20 h 25"/>
                <a:gd name="T4" fmla="*/ 21 w 25"/>
                <a:gd name="T5" fmla="*/ 20 h 25"/>
                <a:gd name="T6" fmla="*/ 21 w 25"/>
                <a:gd name="T7" fmla="*/ 4 h 25"/>
                <a:gd name="T8" fmla="*/ 5 w 25"/>
                <a:gd name="T9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5">
                  <a:moveTo>
                    <a:pt x="5" y="4"/>
                  </a:moveTo>
                  <a:cubicBezTo>
                    <a:pt x="0" y="9"/>
                    <a:pt x="0" y="16"/>
                    <a:pt x="5" y="20"/>
                  </a:cubicBezTo>
                  <a:cubicBezTo>
                    <a:pt x="9" y="25"/>
                    <a:pt x="16" y="25"/>
                    <a:pt x="21" y="20"/>
                  </a:cubicBezTo>
                  <a:cubicBezTo>
                    <a:pt x="25" y="16"/>
                    <a:pt x="25" y="9"/>
                    <a:pt x="21" y="4"/>
                  </a:cubicBezTo>
                  <a:cubicBezTo>
                    <a:pt x="16" y="0"/>
                    <a:pt x="9" y="0"/>
                    <a:pt x="5" y="4"/>
                  </a:cubicBezTo>
                  <a:close/>
                </a:path>
              </a:pathLst>
            </a:custGeom>
            <a:solidFill>
              <a:srgbClr val="F2675F"/>
            </a:solidFill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2" name="Freeform 38">
              <a:extLst>
                <a:ext uri="{FF2B5EF4-FFF2-40B4-BE49-F238E27FC236}">
                  <a16:creationId xmlns:a16="http://schemas.microsoft.com/office/drawing/2014/main" id="{EB94EEF6-5F2B-4055-9DD0-6E442850CD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4" y="1372"/>
              <a:ext cx="200" cy="208"/>
            </a:xfrm>
            <a:custGeom>
              <a:avLst/>
              <a:gdLst>
                <a:gd name="T0" fmla="*/ 63 w 167"/>
                <a:gd name="T1" fmla="*/ 0 h 174"/>
                <a:gd name="T2" fmla="*/ 0 w 167"/>
                <a:gd name="T3" fmla="*/ 0 h 174"/>
                <a:gd name="T4" fmla="*/ 0 w 167"/>
                <a:gd name="T5" fmla="*/ 65 h 174"/>
                <a:gd name="T6" fmla="*/ 100 w 167"/>
                <a:gd name="T7" fmla="*/ 169 h 174"/>
                <a:gd name="T8" fmla="*/ 116 w 167"/>
                <a:gd name="T9" fmla="*/ 169 h 174"/>
                <a:gd name="T10" fmla="*/ 163 w 167"/>
                <a:gd name="T11" fmla="*/ 120 h 174"/>
                <a:gd name="T12" fmla="*/ 163 w 167"/>
                <a:gd name="T13" fmla="*/ 104 h 174"/>
                <a:gd name="T14" fmla="*/ 63 w 167"/>
                <a:gd name="T15" fmla="*/ 0 h 174"/>
                <a:gd name="T16" fmla="*/ 53 w 167"/>
                <a:gd name="T17" fmla="*/ 53 h 174"/>
                <a:gd name="T18" fmla="*/ 37 w 167"/>
                <a:gd name="T19" fmla="*/ 53 h 174"/>
                <a:gd name="T20" fmla="*/ 37 w 167"/>
                <a:gd name="T21" fmla="*/ 37 h 174"/>
                <a:gd name="T22" fmla="*/ 53 w 167"/>
                <a:gd name="T23" fmla="*/ 37 h 174"/>
                <a:gd name="T24" fmla="*/ 53 w 167"/>
                <a:gd name="T25" fmla="*/ 53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7" h="174">
                  <a:moveTo>
                    <a:pt x="6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100" y="169"/>
                    <a:pt x="100" y="169"/>
                    <a:pt x="100" y="169"/>
                  </a:cubicBezTo>
                  <a:cubicBezTo>
                    <a:pt x="104" y="174"/>
                    <a:pt x="111" y="174"/>
                    <a:pt x="116" y="169"/>
                  </a:cubicBezTo>
                  <a:cubicBezTo>
                    <a:pt x="163" y="120"/>
                    <a:pt x="163" y="120"/>
                    <a:pt x="163" y="120"/>
                  </a:cubicBezTo>
                  <a:cubicBezTo>
                    <a:pt x="167" y="115"/>
                    <a:pt x="167" y="108"/>
                    <a:pt x="163" y="104"/>
                  </a:cubicBezTo>
                  <a:cubicBezTo>
                    <a:pt x="63" y="0"/>
                    <a:pt x="63" y="0"/>
                    <a:pt x="63" y="0"/>
                  </a:cubicBezTo>
                  <a:close/>
                  <a:moveTo>
                    <a:pt x="53" y="53"/>
                  </a:moveTo>
                  <a:cubicBezTo>
                    <a:pt x="48" y="58"/>
                    <a:pt x="41" y="58"/>
                    <a:pt x="37" y="53"/>
                  </a:cubicBezTo>
                  <a:cubicBezTo>
                    <a:pt x="32" y="49"/>
                    <a:pt x="32" y="42"/>
                    <a:pt x="37" y="37"/>
                  </a:cubicBezTo>
                  <a:cubicBezTo>
                    <a:pt x="41" y="33"/>
                    <a:pt x="48" y="33"/>
                    <a:pt x="53" y="37"/>
                  </a:cubicBezTo>
                  <a:cubicBezTo>
                    <a:pt x="57" y="42"/>
                    <a:pt x="57" y="49"/>
                    <a:pt x="53" y="53"/>
                  </a:cubicBezTo>
                  <a:close/>
                </a:path>
              </a:pathLst>
            </a:custGeom>
            <a:solidFill>
              <a:srgbClr val="F2675F"/>
            </a:solidFill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799">
                <a:solidFill>
                  <a:srgbClr val="000000"/>
                </a:solidFill>
              </a:endParaRPr>
            </a:p>
          </p:txBody>
        </p:sp>
      </p:grpSp>
      <p:pic>
        <p:nvPicPr>
          <p:cNvPr id="92" name="Picture 91">
            <a:extLst>
              <a:ext uri="{FF2B5EF4-FFF2-40B4-BE49-F238E27FC236}">
                <a16:creationId xmlns:a16="http://schemas.microsoft.com/office/drawing/2014/main" id="{8B5F097A-01DC-4969-A608-F1F7685A5BE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80043" y="3381175"/>
            <a:ext cx="1285173" cy="801381"/>
          </a:xfrm>
          <a:prstGeom prst="rect">
            <a:avLst/>
          </a:prstGeom>
        </p:spPr>
      </p:pic>
      <p:sp>
        <p:nvSpPr>
          <p:cNvPr id="55" name="Rectangle 54"/>
          <p:cNvSpPr/>
          <p:nvPr/>
        </p:nvSpPr>
        <p:spPr>
          <a:xfrm>
            <a:off x="1126322" y="3036852"/>
            <a:ext cx="8277904" cy="813086"/>
          </a:xfrm>
          <a:prstGeom prst="rect">
            <a:avLst/>
          </a:prstGeom>
          <a:noFill/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8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383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378" y="450153"/>
            <a:ext cx="11088784" cy="553870"/>
          </a:xfrm>
        </p:spPr>
        <p:txBody>
          <a:bodyPr/>
          <a:lstStyle/>
          <a:p>
            <a:r>
              <a:rPr lang="en-US" dirty="0"/>
              <a:t>Widget Configur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5025222"/>
          </a:xfrm>
        </p:spPr>
        <p:txBody>
          <a:bodyPr/>
          <a:lstStyle/>
          <a:p>
            <a:r>
              <a:rPr lang="en-US" dirty="0"/>
              <a:t>Behavior Configuration</a:t>
            </a:r>
          </a:p>
          <a:p>
            <a:pPr lvl="1"/>
            <a:r>
              <a:rPr lang="en-US" dirty="0"/>
              <a:t>Show/hide buttons links?</a:t>
            </a:r>
          </a:p>
          <a:p>
            <a:pPr lvl="1"/>
            <a:r>
              <a:rPr lang="en-US" dirty="0"/>
              <a:t>Order of data</a:t>
            </a:r>
          </a:p>
          <a:p>
            <a:pPr lvl="1"/>
            <a:r>
              <a:rPr lang="en-US" dirty="0"/>
              <a:t>Remove voice? text? </a:t>
            </a:r>
          </a:p>
          <a:p>
            <a:pPr lvl="1"/>
            <a:endParaRPr lang="en-US" dirty="0"/>
          </a:p>
          <a:p>
            <a:r>
              <a:rPr lang="en-US" dirty="0"/>
              <a:t>Content Configuration</a:t>
            </a:r>
          </a:p>
          <a:p>
            <a:pPr lvl="1"/>
            <a:r>
              <a:rPr lang="en-US" dirty="0"/>
              <a:t>Text in Title</a:t>
            </a:r>
          </a:p>
          <a:p>
            <a:pPr lvl="1"/>
            <a:r>
              <a:rPr lang="en-US" dirty="0"/>
              <a:t>Images</a:t>
            </a:r>
          </a:p>
          <a:p>
            <a:pPr marL="284077" lvl="1" indent="0">
              <a:buNone/>
            </a:pPr>
            <a:endParaRPr lang="en-US" dirty="0"/>
          </a:p>
          <a:p>
            <a:r>
              <a:rPr lang="en-US" dirty="0"/>
              <a:t>Navigation Configuration</a:t>
            </a:r>
          </a:p>
          <a:p>
            <a:pPr lvl="1"/>
            <a:r>
              <a:rPr lang="en-US" dirty="0"/>
              <a:t>Submit, Add to Cart</a:t>
            </a:r>
          </a:p>
          <a:p>
            <a:pPr lvl="1"/>
            <a:r>
              <a:rPr lang="en-US" dirty="0"/>
              <a:t>Cancel</a:t>
            </a:r>
          </a:p>
          <a:p>
            <a:pPr lvl="1"/>
            <a:r>
              <a:rPr lang="en-US" dirty="0"/>
              <a:t>Error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1537EFC-68C4-3742-B6DA-C0CBFAEE2E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0602" y="2384529"/>
            <a:ext cx="6809278" cy="438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87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378" y="450153"/>
            <a:ext cx="11088784" cy="553870"/>
          </a:xfrm>
        </p:spPr>
        <p:txBody>
          <a:bodyPr/>
          <a:lstStyle/>
          <a:p>
            <a:r>
              <a:rPr lang="en-US" dirty="0"/>
              <a:t>Widget Languag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307648"/>
          </a:xfrm>
        </p:spPr>
        <p:txBody>
          <a:bodyPr/>
          <a:lstStyle/>
          <a:p>
            <a:r>
              <a:rPr lang="en-US" dirty="0"/>
              <a:t>The labels are managed thorough i18n </a:t>
            </a:r>
            <a:r>
              <a:rPr lang="en-US" dirty="0" err="1"/>
              <a:t>config</a:t>
            </a:r>
            <a:r>
              <a:rPr lang="en-US" dirty="0"/>
              <a:t> fi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548" y="1831648"/>
            <a:ext cx="5763222" cy="6858000"/>
          </a:xfrm>
          <a:prstGeom prst="rect">
            <a:avLst/>
          </a:prstGeom>
        </p:spPr>
      </p:pic>
      <p:cxnSp>
        <p:nvCxnSpPr>
          <p:cNvPr id="7" name="Straight Arrow Connector 6"/>
          <p:cNvCxnSpPr/>
          <p:nvPr/>
        </p:nvCxnSpPr>
        <p:spPr>
          <a:xfrm flipV="1">
            <a:off x="3048000" y="3580770"/>
            <a:ext cx="2254156" cy="18195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2156" y="3430960"/>
            <a:ext cx="5905500" cy="2524125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 flipV="1">
            <a:off x="3406588" y="3783106"/>
            <a:ext cx="1963271" cy="52891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V="1">
            <a:off x="3209159" y="3783106"/>
            <a:ext cx="3379900" cy="99186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238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378" y="450153"/>
            <a:ext cx="11088784" cy="553870"/>
          </a:xfrm>
        </p:spPr>
        <p:txBody>
          <a:bodyPr/>
          <a:lstStyle/>
          <a:p>
            <a:r>
              <a:rPr lang="en-US" dirty="0"/>
              <a:t>Widget L&amp;F and Style (CS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378" y="1402699"/>
            <a:ext cx="11088784" cy="4719241"/>
          </a:xfrm>
        </p:spPr>
        <p:txBody>
          <a:bodyPr/>
          <a:lstStyle/>
          <a:p>
            <a:r>
              <a:rPr lang="en-US" sz="2400" dirty="0"/>
              <a:t>Amdocs is using SASS</a:t>
            </a:r>
          </a:p>
          <a:p>
            <a:r>
              <a:rPr lang="en-US" sz="2400" dirty="0"/>
              <a:t>It is possible to integrate Amdocs sass into hosting application sass and compile one </a:t>
            </a:r>
            <a:r>
              <a:rPr lang="en-US" sz="2400" dirty="0" err="1"/>
              <a:t>css</a:t>
            </a:r>
            <a:r>
              <a:rPr lang="en-US" sz="2400" dirty="0"/>
              <a:t> file</a:t>
            </a:r>
          </a:p>
          <a:p>
            <a:r>
              <a:rPr lang="en-US" sz="2400" dirty="0"/>
              <a:t>Or load directly Amdocs </a:t>
            </a:r>
            <a:r>
              <a:rPr lang="en-US" sz="2400" dirty="0" err="1"/>
              <a:t>css</a:t>
            </a:r>
            <a:r>
              <a:rPr lang="en-US" sz="2400" dirty="0"/>
              <a:t> to their page</a:t>
            </a:r>
          </a:p>
          <a:p>
            <a:r>
              <a:rPr lang="en-US" sz="2400" dirty="0"/>
              <a:t>Hosting application should provide style guideline</a:t>
            </a:r>
          </a:p>
          <a:p>
            <a:r>
              <a:rPr lang="en-US" sz="2400" dirty="0"/>
              <a:t>Hosting application can override styling</a:t>
            </a:r>
          </a:p>
          <a:p>
            <a:r>
              <a:rPr lang="en-US" sz="2400" dirty="0"/>
              <a:t>Hosting application can fully customize the view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70657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5887" y="2305230"/>
            <a:ext cx="7132938" cy="39749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378" y="450153"/>
            <a:ext cx="11088784" cy="553870"/>
          </a:xfrm>
        </p:spPr>
        <p:txBody>
          <a:bodyPr/>
          <a:lstStyle/>
          <a:p>
            <a:r>
              <a:rPr lang="en-US" dirty="0"/>
              <a:t>Widget Placement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1520416"/>
          </a:xfrm>
        </p:spPr>
        <p:txBody>
          <a:bodyPr/>
          <a:lstStyle/>
          <a:p>
            <a:r>
              <a:rPr lang="en-US" dirty="0"/>
              <a:t>Will the widget be embedded in existing page or in a new dedicate page?</a:t>
            </a:r>
          </a:p>
          <a:p>
            <a:pPr lvl="1"/>
            <a:r>
              <a:rPr lang="en-US" dirty="0"/>
              <a:t>If in existing page </a:t>
            </a:r>
            <a:r>
              <a:rPr lang="en-US" dirty="0">
                <a:sym typeface="Wingdings" panose="05000000000000000000" pitchFamily="2" charset="2"/>
              </a:rPr>
              <a:t> need to prepare placeholder and </a:t>
            </a:r>
            <a:r>
              <a:rPr lang="en-US" b="1" dirty="0">
                <a:sym typeface="Wingdings" panose="05000000000000000000" pitchFamily="2" charset="2"/>
              </a:rPr>
              <a:t>share its size</a:t>
            </a:r>
            <a:endParaRPr lang="en-US" b="1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r="22862"/>
          <a:stretch/>
        </p:blipFill>
        <p:spPr>
          <a:xfrm>
            <a:off x="546378" y="2731560"/>
            <a:ext cx="3589524" cy="2809420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3BFFD5F-9889-A648-A10A-C429979F3563}"/>
              </a:ext>
            </a:extLst>
          </p:cNvPr>
          <p:cNvCxnSpPr/>
          <p:nvPr/>
        </p:nvCxnSpPr>
        <p:spPr>
          <a:xfrm>
            <a:off x="3910818" y="3713871"/>
            <a:ext cx="3080825" cy="0"/>
          </a:xfrm>
          <a:prstGeom prst="straightConnector1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7147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65682" y="2619170"/>
            <a:ext cx="4374011" cy="615425"/>
          </a:xfrm>
        </p:spPr>
        <p:txBody>
          <a:bodyPr/>
          <a:lstStyle/>
          <a:p>
            <a:r>
              <a:rPr lang="en-US" dirty="0"/>
              <a:t>Q &amp; A</a:t>
            </a:r>
          </a:p>
        </p:txBody>
      </p:sp>
      <p:sp>
        <p:nvSpPr>
          <p:cNvPr id="4" name="Subtitle 3"/>
          <p:cNvSpPr>
            <a:spLocks noGrp="1"/>
          </p:cNvSpPr>
          <p:nvPr>
            <p:ph type="body" idx="1"/>
          </p:nvPr>
        </p:nvSpPr>
        <p:spPr>
          <a:xfrm>
            <a:off x="7265682" y="4026453"/>
            <a:ext cx="4374010" cy="307648"/>
          </a:xfrm>
        </p:spPr>
        <p:txBody>
          <a:bodyPr/>
          <a:lstStyle/>
          <a:p>
            <a:pPr marL="342797" indent="-342797">
              <a:buFont typeface="Arial" panose="020B0604020202020204" pitchFamily="34" charset="0"/>
              <a:buChar char="•"/>
            </a:pP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215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985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811397" y="5963412"/>
            <a:ext cx="9593762" cy="9141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 err="1">
              <a:solidFill>
                <a:prstClr val="white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 rot="16200000">
            <a:off x="5291102" y="-2211280"/>
            <a:ext cx="1597830" cy="1106761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5875">
            <a:noFill/>
          </a:ln>
        </p:spPr>
        <p:txBody>
          <a:bodyPr vert="eaVert" wrap="square" lIns="182832" tIns="146266" rIns="182832" bIns="146266" rtlCol="0" anchor="t" anchorCtr="0">
            <a:noAutofit/>
          </a:bodyPr>
          <a:lstStyle>
            <a:defPPr>
              <a:defRPr lang="en-US"/>
            </a:defPPr>
            <a:lvl1pPr marL="6350" marR="5080" indent="-635" algn="ctr">
              <a:lnSpc>
                <a:spcPct val="90000"/>
              </a:lnSpc>
              <a:defRPr>
                <a:solidFill>
                  <a:prstClr val="white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defTabSz="914126"/>
            <a:r>
              <a:rPr lang="en-US" sz="1799" dirty="0"/>
              <a:t>DIGITAL EXPERIENCE  LAYER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46378" y="20154"/>
            <a:ext cx="11088784" cy="984501"/>
          </a:xfrm>
        </p:spPr>
        <p:txBody>
          <a:bodyPr/>
          <a:lstStyle/>
          <a:p>
            <a:r>
              <a:rPr lang="en-US" dirty="0"/>
              <a:t>Digital Experience Layer</a:t>
            </a:r>
            <a:br>
              <a:rPr lang="en-US" dirty="0"/>
            </a:br>
            <a:r>
              <a:rPr lang="en-US" sz="2798" dirty="0"/>
              <a:t>From Functional Capabilities to User Experience 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620262" y="4403000"/>
            <a:ext cx="11088784" cy="2264133"/>
          </a:xfrm>
        </p:spPr>
        <p:txBody>
          <a:bodyPr/>
          <a:lstStyle/>
          <a:p>
            <a:r>
              <a:rPr lang="en-US" dirty="0"/>
              <a:t>Experience APIs Approach</a:t>
            </a:r>
          </a:p>
          <a:p>
            <a:r>
              <a:rPr lang="en-US" dirty="0"/>
              <a:t>Digital Commerce &amp; Care (DC&amp;C) Services  – Generic and Reusable (TMF’s Open API)</a:t>
            </a:r>
          </a:p>
          <a:p>
            <a:pPr lvl="1"/>
            <a:r>
              <a:rPr lang="en-US" dirty="0"/>
              <a:t>Experience Services – Client Specific </a:t>
            </a:r>
          </a:p>
          <a:p>
            <a:r>
              <a:rPr lang="en-US" dirty="0"/>
              <a:t>Client SDK &amp; Web Components/Widgets – consume functional capabilities</a:t>
            </a:r>
          </a:p>
          <a:p>
            <a:r>
              <a:rPr lang="en-US" dirty="0"/>
              <a:t>Experience Management/Admin – Manage content in context of audience segmentation, behavior and brand activity (campaigns)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7799114" y="4266436"/>
            <a:ext cx="3836339" cy="369094"/>
            <a:chOff x="7874758" y="-637681"/>
            <a:chExt cx="3837338" cy="369190"/>
          </a:xfrm>
        </p:grpSpPr>
        <p:sp>
          <p:nvSpPr>
            <p:cNvPr id="18" name="Rectangle 17"/>
            <p:cNvSpPr/>
            <p:nvPr/>
          </p:nvSpPr>
          <p:spPr>
            <a:xfrm>
              <a:off x="7874758" y="-637681"/>
              <a:ext cx="3837338" cy="3691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 err="1">
                <a:solidFill>
                  <a:prstClr val="white"/>
                </a:solidFill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8667991" y="-570670"/>
              <a:ext cx="2918910" cy="235169"/>
              <a:chOff x="5673114" y="1194482"/>
              <a:chExt cx="2919670" cy="235230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7166320" y="1194482"/>
                <a:ext cx="1426464" cy="235230"/>
              </a:xfrm>
              <a:prstGeom prst="rect">
                <a:avLst/>
              </a:prstGeom>
              <a:solidFill>
                <a:schemeClr val="accent2"/>
              </a:solidFill>
              <a:ln w="19050" cap="sq" cmpd="sng">
                <a:solidFill>
                  <a:schemeClr val="accent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r>
                  <a:rPr lang="en-US" sz="1100" dirty="0">
                    <a:solidFill>
                      <a:prstClr val="white"/>
                    </a:solidFill>
                  </a:rPr>
                  <a:t>Care</a:t>
                </a:r>
              </a:p>
            </p:txBody>
          </p:sp>
          <p:sp>
            <p:nvSpPr>
              <p:cNvPr id="49" name="Rectangle 48"/>
              <p:cNvSpPr/>
              <p:nvPr/>
            </p:nvSpPr>
            <p:spPr>
              <a:xfrm>
                <a:off x="5673114" y="1194482"/>
                <a:ext cx="1426464" cy="235230"/>
              </a:xfrm>
              <a:prstGeom prst="rect">
                <a:avLst/>
              </a:prstGeom>
              <a:solidFill>
                <a:schemeClr val="accent3"/>
              </a:solidFill>
              <a:ln w="19050" cap="sq" cmpd="sng">
                <a:solidFill>
                  <a:schemeClr val="accent3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r>
                  <a:rPr lang="en-US" sz="1100" dirty="0">
                    <a:solidFill>
                      <a:prstClr val="white"/>
                    </a:solidFill>
                  </a:rPr>
                  <a:t>Commerce</a:t>
                </a:r>
              </a:p>
            </p:txBody>
          </p:sp>
        </p:grpSp>
        <p:sp>
          <p:nvSpPr>
            <p:cNvPr id="7" name="TextBox 6"/>
            <p:cNvSpPr txBox="1"/>
            <p:nvPr/>
          </p:nvSpPr>
          <p:spPr>
            <a:xfrm>
              <a:off x="7982320" y="-583891"/>
              <a:ext cx="139491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en-US" sz="1100" dirty="0">
                  <a:solidFill>
                    <a:srgbClr val="302E45"/>
                  </a:solidFill>
                </a:rPr>
                <a:t>legend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518760" y="3588470"/>
            <a:ext cx="3114980" cy="414389"/>
            <a:chOff x="3452884" y="-600501"/>
            <a:chExt cx="3819070" cy="508055"/>
          </a:xfrm>
        </p:grpSpPr>
        <p:sp>
          <p:nvSpPr>
            <p:cNvPr id="4" name="Rectangle 3"/>
            <p:cNvSpPr/>
            <p:nvPr/>
          </p:nvSpPr>
          <p:spPr>
            <a:xfrm>
              <a:off x="3452884" y="-600501"/>
              <a:ext cx="3819070" cy="5080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 err="1">
                <a:solidFill>
                  <a:prstClr val="white"/>
                </a:solidFill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3788141" y="-544571"/>
              <a:ext cx="3269881" cy="396194"/>
              <a:chOff x="8030465" y="-600501"/>
              <a:chExt cx="3269881" cy="396194"/>
            </a:xfrm>
          </p:grpSpPr>
          <p:pic>
            <p:nvPicPr>
              <p:cNvPr id="89" name="Picture 2" descr="Image result for redux logo"/>
              <p:cNvPicPr>
                <a:picLocks noChangeAspect="1" noChangeArrowheads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956" t="17278" r="14626" b="22700"/>
              <a:stretch/>
            </p:blipFill>
            <p:spPr bwMode="auto">
              <a:xfrm>
                <a:off x="10276764" y="-600501"/>
                <a:ext cx="1023582" cy="32754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0" name="Picture 6" descr="Image result for ECMAScript 6 logo"/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30465" y="-564798"/>
                <a:ext cx="451176" cy="3003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2" name="Picture 2" descr="Image result for react logo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76070" y="-572414"/>
                <a:ext cx="824791" cy="2715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3" name="Picture 4" descr="Image result for facebook react logo"/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67077" y="-576580"/>
                <a:ext cx="233089" cy="2757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4" name="Picture 10" descr="Image result for es6 logo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57545" y="-586468"/>
                <a:ext cx="433628" cy="38216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2" name="Group 11"/>
          <p:cNvGrpSpPr/>
          <p:nvPr/>
        </p:nvGrpSpPr>
        <p:grpSpPr>
          <a:xfrm>
            <a:off x="699618" y="2951698"/>
            <a:ext cx="10780796" cy="518187"/>
            <a:chOff x="766443" y="2992518"/>
            <a:chExt cx="10783604" cy="518322"/>
          </a:xfrm>
        </p:grpSpPr>
        <p:sp>
          <p:nvSpPr>
            <p:cNvPr id="14" name="Rectangle 13"/>
            <p:cNvSpPr/>
            <p:nvPr/>
          </p:nvSpPr>
          <p:spPr>
            <a:xfrm>
              <a:off x="3116727" y="3005681"/>
              <a:ext cx="1431149" cy="505159"/>
            </a:xfrm>
            <a:prstGeom prst="rect">
              <a:avLst/>
            </a:prstGeom>
            <a:solidFill>
              <a:schemeClr val="accent3"/>
            </a:solidFill>
            <a:ln w="19050" cap="sq" cmpd="sng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r>
                <a:rPr lang="en-US" sz="1100" dirty="0">
                  <a:solidFill>
                    <a:prstClr val="white"/>
                  </a:solidFill>
                </a:rPr>
                <a:t>Commerce widget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645984" y="3005681"/>
              <a:ext cx="1652435" cy="505159"/>
            </a:xfrm>
            <a:prstGeom prst="rect">
              <a:avLst/>
            </a:prstGeom>
            <a:solidFill>
              <a:schemeClr val="accent3"/>
            </a:solidFill>
            <a:ln w="19050" cap="sq" cmpd="sng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r>
                <a:rPr lang="en-US" sz="1100" dirty="0">
                  <a:solidFill>
                    <a:prstClr val="white"/>
                  </a:solidFill>
                </a:rPr>
                <a:t>Billing care </a:t>
              </a:r>
              <a:br>
                <a:rPr lang="en-US" sz="1100" dirty="0">
                  <a:solidFill>
                    <a:prstClr val="white"/>
                  </a:solidFill>
                </a:rPr>
              </a:br>
              <a:r>
                <a:rPr lang="en-US" sz="1100" dirty="0">
                  <a:solidFill>
                    <a:prstClr val="white"/>
                  </a:solidFill>
                </a:rPr>
                <a:t>widgets 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396527" y="3005681"/>
              <a:ext cx="1652435" cy="505159"/>
            </a:xfrm>
            <a:prstGeom prst="rect">
              <a:avLst/>
            </a:prstGeom>
            <a:solidFill>
              <a:schemeClr val="accent2"/>
            </a:solidFill>
            <a:ln w="19050" cap="sq" cmpd="sng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r>
                <a:rPr lang="en-US" sz="1100" dirty="0">
                  <a:solidFill>
                    <a:prstClr val="white"/>
                  </a:solidFill>
                </a:rPr>
                <a:t>Support </a:t>
              </a:r>
              <a:br>
                <a:rPr lang="en-US" sz="1100" dirty="0">
                  <a:solidFill>
                    <a:prstClr val="white"/>
                  </a:solidFill>
                </a:rPr>
              </a:br>
              <a:r>
                <a:rPr lang="en-US" sz="1100" dirty="0">
                  <a:solidFill>
                    <a:prstClr val="white"/>
                  </a:solidFill>
                </a:rPr>
                <a:t>widgets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8147070" y="3005681"/>
              <a:ext cx="1652435" cy="505159"/>
            </a:xfrm>
            <a:prstGeom prst="rect">
              <a:avLst/>
            </a:prstGeom>
            <a:solidFill>
              <a:schemeClr val="accent2"/>
            </a:solidFill>
            <a:ln w="19050" cap="sq" cmpd="sng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r>
                <a:rPr lang="en-US" sz="1100" dirty="0">
                  <a:solidFill>
                    <a:prstClr val="white"/>
                  </a:solidFill>
                </a:rPr>
                <a:t>Customer care  widgets</a:t>
              </a: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9897612" y="3005681"/>
              <a:ext cx="1652435" cy="505159"/>
            </a:xfrm>
            <a:prstGeom prst="rect">
              <a:avLst/>
            </a:prstGeom>
            <a:solidFill>
              <a:schemeClr val="accent2"/>
            </a:solidFill>
            <a:ln w="19050" cap="sq" cmpd="sng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r>
                <a:rPr lang="en-US" sz="1100" dirty="0">
                  <a:solidFill>
                    <a:prstClr val="white"/>
                  </a:solidFill>
                </a:rPr>
                <a:t>Multi modal plug-ins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1941585" y="2992518"/>
              <a:ext cx="1077034" cy="50529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9050" cap="sq" cmpd="sng">
              <a:solidFill>
                <a:srgbClr val="96969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r>
                <a:rPr lang="en-US" sz="1100" dirty="0">
                  <a:solidFill>
                    <a:prstClr val="white"/>
                  </a:solidFill>
                </a:rPr>
                <a:t>WCMS </a:t>
              </a:r>
            </a:p>
            <a:p>
              <a:pPr algn="ctr" defTabSz="914126"/>
              <a:r>
                <a:rPr lang="en-US" sz="1100" dirty="0">
                  <a:solidFill>
                    <a:prstClr val="white"/>
                  </a:solidFill>
                </a:rPr>
                <a:t>(AEM)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766443" y="2992518"/>
              <a:ext cx="1077034" cy="505290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9050" cap="sq" cmpd="sng">
              <a:solidFill>
                <a:srgbClr val="96969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r>
                <a:rPr lang="en-US" sz="1100" dirty="0">
                  <a:solidFill>
                    <a:prstClr val="white"/>
                  </a:solidFill>
                </a:rPr>
                <a:t>Amdocs Mobile Enablement</a:t>
              </a:r>
            </a:p>
          </p:txBody>
        </p:sp>
      </p:grpSp>
      <p:sp>
        <p:nvSpPr>
          <p:cNvPr id="31" name="Rectangle 30"/>
          <p:cNvSpPr/>
          <p:nvPr/>
        </p:nvSpPr>
        <p:spPr>
          <a:xfrm>
            <a:off x="534943" y="2523612"/>
            <a:ext cx="11100218" cy="1597831"/>
          </a:xfrm>
          <a:prstGeom prst="rect">
            <a:avLst/>
          </a:prstGeom>
          <a:noFill/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8" dirty="0" err="1">
              <a:solidFill>
                <a:prstClr val="white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783665" y="1276917"/>
            <a:ext cx="8621494" cy="1113380"/>
            <a:chOff x="988679" y="1577524"/>
            <a:chExt cx="10214642" cy="1319119"/>
          </a:xfrm>
        </p:grpSpPr>
        <p:sp>
          <p:nvSpPr>
            <p:cNvPr id="32" name="Rectangle 31"/>
            <p:cNvSpPr/>
            <p:nvPr/>
          </p:nvSpPr>
          <p:spPr>
            <a:xfrm>
              <a:off x="988679" y="1577524"/>
              <a:ext cx="10214642" cy="13191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endParaRPr lang="en-US" sz="1050" dirty="0">
                <a:solidFill>
                  <a:srgbClr val="302E45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1126630" y="2058822"/>
              <a:ext cx="1554480" cy="785525"/>
            </a:xfrm>
            <a:prstGeom prst="rect">
              <a:avLst/>
            </a:prstGeom>
            <a:noFill/>
            <a:ln w="12700" cap="sq">
              <a:solidFill>
                <a:schemeClr val="accent6">
                  <a:lumMod val="9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08" rIns="0" bIns="91416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>
                <a:defRPr/>
              </a:pPr>
              <a:r>
                <a:rPr lang="en-US" sz="1050" b="1" dirty="0">
                  <a:solidFill>
                    <a:srgbClr val="626469"/>
                  </a:solidFill>
                </a:rPr>
                <a:t>Mobile &amp; Web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2836195" y="2058822"/>
              <a:ext cx="1554480" cy="785525"/>
            </a:xfrm>
            <a:prstGeom prst="rect">
              <a:avLst/>
            </a:prstGeom>
            <a:noFill/>
            <a:ln w="12700" cap="sq">
              <a:solidFill>
                <a:schemeClr val="accent6">
                  <a:lumMod val="9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08" rIns="0" bIns="91416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>
                <a:defRPr/>
              </a:pPr>
              <a:r>
                <a:rPr lang="en-US" sz="1050" b="1" dirty="0">
                  <a:solidFill>
                    <a:srgbClr val="F2665F"/>
                  </a:solidFill>
                </a:rPr>
                <a:t>In-store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520002" y="2058822"/>
              <a:ext cx="1554480" cy="785525"/>
            </a:xfrm>
            <a:prstGeom prst="rect">
              <a:avLst/>
            </a:prstGeom>
            <a:noFill/>
            <a:ln w="12700" cap="sq">
              <a:solidFill>
                <a:schemeClr val="accent6">
                  <a:lumMod val="9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08" rIns="0" bIns="91416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>
                <a:defRPr/>
              </a:pPr>
              <a:r>
                <a:rPr lang="en-US" sz="1050" b="1" dirty="0">
                  <a:solidFill>
                    <a:srgbClr val="EC008C"/>
                  </a:solidFill>
                </a:rPr>
                <a:t>Call center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1126630" y="1665379"/>
              <a:ext cx="1554480" cy="411480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2700" cap="sq">
              <a:solidFill>
                <a:schemeClr val="accent4">
                  <a:lumMod val="40000"/>
                  <a:lumOff val="6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>
                <a:defRPr/>
              </a:pPr>
              <a:r>
                <a:rPr lang="en-US" sz="1050" dirty="0">
                  <a:solidFill>
                    <a:srgbClr val="FFFFFF"/>
                  </a:solidFill>
                </a:rPr>
                <a:t>SELF-SERVICE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2836195" y="1665379"/>
              <a:ext cx="1554480" cy="411480"/>
            </a:xfrm>
            <a:prstGeom prst="rect">
              <a:avLst/>
            </a:prstGeom>
            <a:solidFill>
              <a:schemeClr val="accent2"/>
            </a:solidFill>
            <a:ln w="12700" cap="sq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r>
                <a:rPr lang="en-US" sz="1050" dirty="0">
                  <a:solidFill>
                    <a:srgbClr val="FFFFFF"/>
                  </a:solidFill>
                </a:rPr>
                <a:t>RETAIL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4520002" y="1665379"/>
              <a:ext cx="1554480" cy="411480"/>
            </a:xfrm>
            <a:prstGeom prst="rect">
              <a:avLst/>
            </a:prstGeom>
            <a:solidFill>
              <a:schemeClr val="accent3"/>
            </a:solidFill>
            <a:ln w="12700" cap="sq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r>
                <a:rPr lang="en-US" sz="1050" dirty="0">
                  <a:solidFill>
                    <a:srgbClr val="FFFFFF"/>
                  </a:solidFill>
                </a:rPr>
                <a:t>CRM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6190930" y="2058822"/>
              <a:ext cx="1554480" cy="785525"/>
            </a:xfrm>
            <a:prstGeom prst="rect">
              <a:avLst/>
            </a:prstGeom>
            <a:noFill/>
            <a:ln w="12700" cap="sq">
              <a:solidFill>
                <a:schemeClr val="accent6">
                  <a:lumMod val="9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08" rIns="0" bIns="91416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>
                <a:defRPr/>
              </a:pPr>
              <a:r>
                <a:rPr lang="en-US" sz="1050" b="1" dirty="0">
                  <a:solidFill>
                    <a:srgbClr val="F9AFA1"/>
                  </a:solidFill>
                </a:rPr>
                <a:t>Web 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6187085" y="1665379"/>
              <a:ext cx="1558325" cy="41148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sq">
              <a:solidFill>
                <a:schemeClr val="accent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r>
                <a:rPr lang="en-US" sz="1050" dirty="0">
                  <a:solidFill>
                    <a:srgbClr val="FFFFFF"/>
                  </a:solidFill>
                </a:rPr>
                <a:t>ENTERPRISE PORTAL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7858013" y="2058822"/>
              <a:ext cx="1554480" cy="785525"/>
            </a:xfrm>
            <a:prstGeom prst="rect">
              <a:avLst/>
            </a:prstGeom>
            <a:noFill/>
            <a:ln w="12700" cap="sq">
              <a:solidFill>
                <a:schemeClr val="accent6">
                  <a:lumMod val="9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08" rIns="0" bIns="91416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>
                <a:defRPr/>
              </a:pPr>
              <a:r>
                <a:rPr lang="en-US" sz="1050" b="1" dirty="0">
                  <a:solidFill>
                    <a:srgbClr val="626469"/>
                  </a:solidFill>
                </a:rPr>
                <a:t>Social / Chat / </a:t>
              </a:r>
              <a:r>
                <a:rPr lang="en-US" sz="1050" b="1" dirty="0" err="1">
                  <a:solidFill>
                    <a:srgbClr val="626469"/>
                  </a:solidFill>
                </a:rPr>
                <a:t>SmartBot</a:t>
              </a:r>
              <a:endParaRPr lang="en-US" sz="1050" b="1" dirty="0">
                <a:solidFill>
                  <a:srgbClr val="626469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7858013" y="1665379"/>
              <a:ext cx="1554480" cy="411480"/>
            </a:xfrm>
            <a:prstGeom prst="rect">
              <a:avLst/>
            </a:prstGeom>
            <a:solidFill>
              <a:schemeClr val="accent5"/>
            </a:solidFill>
            <a:ln w="12700" cap="sq">
              <a:solidFill>
                <a:schemeClr val="accent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>
                <a:defRPr/>
              </a:pPr>
              <a:r>
                <a:rPr lang="en-US" sz="1050" dirty="0">
                  <a:solidFill>
                    <a:srgbClr val="FFFFFF"/>
                  </a:solidFill>
                </a:rPr>
                <a:t>CHANNEL EXTENSIONS</a:t>
              </a:r>
            </a:p>
          </p:txBody>
        </p:sp>
        <p:sp>
          <p:nvSpPr>
            <p:cNvPr id="43" name="Freeform 12"/>
            <p:cNvSpPr>
              <a:spLocks noChangeAspect="1" noEditPoints="1"/>
            </p:cNvSpPr>
            <p:nvPr/>
          </p:nvSpPr>
          <p:spPr bwMode="black">
            <a:xfrm>
              <a:off x="8387334" y="2130692"/>
              <a:ext cx="376582" cy="227319"/>
            </a:xfrm>
            <a:custGeom>
              <a:avLst/>
              <a:gdLst>
                <a:gd name="T0" fmla="*/ 292 w 349"/>
                <a:gd name="T1" fmla="*/ 160 h 211"/>
                <a:gd name="T2" fmla="*/ 230 w 349"/>
                <a:gd name="T3" fmla="*/ 131 h 211"/>
                <a:gd name="T4" fmla="*/ 227 w 349"/>
                <a:gd name="T5" fmla="*/ 136 h 211"/>
                <a:gd name="T6" fmla="*/ 265 w 349"/>
                <a:gd name="T7" fmla="*/ 177 h 211"/>
                <a:gd name="T8" fmla="*/ 204 w 349"/>
                <a:gd name="T9" fmla="*/ 147 h 211"/>
                <a:gd name="T10" fmla="*/ 200 w 349"/>
                <a:gd name="T11" fmla="*/ 152 h 211"/>
                <a:gd name="T12" fmla="*/ 238 w 349"/>
                <a:gd name="T13" fmla="*/ 193 h 211"/>
                <a:gd name="T14" fmla="*/ 191 w 349"/>
                <a:gd name="T15" fmla="*/ 174 h 211"/>
                <a:gd name="T16" fmla="*/ 188 w 349"/>
                <a:gd name="T17" fmla="*/ 178 h 211"/>
                <a:gd name="T18" fmla="*/ 208 w 349"/>
                <a:gd name="T19" fmla="*/ 205 h 211"/>
                <a:gd name="T20" fmla="*/ 172 w 349"/>
                <a:gd name="T21" fmla="*/ 194 h 211"/>
                <a:gd name="T22" fmla="*/ 176 w 349"/>
                <a:gd name="T23" fmla="*/ 172 h 211"/>
                <a:gd name="T24" fmla="*/ 154 w 349"/>
                <a:gd name="T25" fmla="*/ 146 h 211"/>
                <a:gd name="T26" fmla="*/ 133 w 349"/>
                <a:gd name="T27" fmla="*/ 127 h 211"/>
                <a:gd name="T28" fmla="*/ 114 w 349"/>
                <a:gd name="T29" fmla="*/ 130 h 211"/>
                <a:gd name="T30" fmla="*/ 101 w 349"/>
                <a:gd name="T31" fmla="*/ 124 h 211"/>
                <a:gd name="T32" fmla="*/ 72 w 349"/>
                <a:gd name="T33" fmla="*/ 121 h 211"/>
                <a:gd name="T34" fmla="*/ 48 w 349"/>
                <a:gd name="T35" fmla="*/ 135 h 211"/>
                <a:gd name="T36" fmla="*/ 71 w 349"/>
                <a:gd name="T37" fmla="*/ 27 h 211"/>
                <a:gd name="T38" fmla="*/ 75 w 349"/>
                <a:gd name="T39" fmla="*/ 46 h 211"/>
                <a:gd name="T40" fmla="*/ 101 w 349"/>
                <a:gd name="T41" fmla="*/ 79 h 211"/>
                <a:gd name="T42" fmla="*/ 118 w 349"/>
                <a:gd name="T43" fmla="*/ 76 h 211"/>
                <a:gd name="T44" fmla="*/ 158 w 349"/>
                <a:gd name="T45" fmla="*/ 53 h 211"/>
                <a:gd name="T46" fmla="*/ 289 w 349"/>
                <a:gd name="T47" fmla="*/ 140 h 211"/>
                <a:gd name="T48" fmla="*/ 242 w 349"/>
                <a:gd name="T49" fmla="*/ 37 h 211"/>
                <a:gd name="T50" fmla="*/ 148 w 349"/>
                <a:gd name="T51" fmla="*/ 4 h 211"/>
                <a:gd name="T52" fmla="*/ 94 w 349"/>
                <a:gd name="T53" fmla="*/ 33 h 211"/>
                <a:gd name="T54" fmla="*/ 102 w 349"/>
                <a:gd name="T55" fmla="*/ 70 h 211"/>
                <a:gd name="T56" fmla="*/ 113 w 349"/>
                <a:gd name="T57" fmla="*/ 67 h 211"/>
                <a:gd name="T58" fmla="*/ 188 w 349"/>
                <a:gd name="T59" fmla="*/ 56 h 211"/>
                <a:gd name="T60" fmla="*/ 294 w 349"/>
                <a:gd name="T61" fmla="*/ 133 h 211"/>
                <a:gd name="T62" fmla="*/ 314 w 349"/>
                <a:gd name="T63" fmla="*/ 130 h 211"/>
                <a:gd name="T64" fmla="*/ 253 w 349"/>
                <a:gd name="T65" fmla="*/ 41 h 211"/>
                <a:gd name="T66" fmla="*/ 139 w 349"/>
                <a:gd name="T67" fmla="*/ 164 h 211"/>
                <a:gd name="T68" fmla="*/ 130 w 349"/>
                <a:gd name="T69" fmla="*/ 137 h 211"/>
                <a:gd name="T70" fmla="*/ 112 w 349"/>
                <a:gd name="T71" fmla="*/ 149 h 211"/>
                <a:gd name="T72" fmla="*/ 84 w 349"/>
                <a:gd name="T73" fmla="*/ 143 h 211"/>
                <a:gd name="T74" fmla="*/ 67 w 349"/>
                <a:gd name="T75" fmla="*/ 131 h 211"/>
                <a:gd name="T76" fmla="*/ 59 w 349"/>
                <a:gd name="T77" fmla="*/ 168 h 211"/>
                <a:gd name="T78" fmla="*/ 76 w 349"/>
                <a:gd name="T79" fmla="*/ 178 h 211"/>
                <a:gd name="T80" fmla="*/ 90 w 349"/>
                <a:gd name="T81" fmla="*/ 188 h 211"/>
                <a:gd name="T82" fmla="*/ 106 w 349"/>
                <a:gd name="T83" fmla="*/ 181 h 211"/>
                <a:gd name="T84" fmla="*/ 116 w 349"/>
                <a:gd name="T85" fmla="*/ 200 h 211"/>
                <a:gd name="T86" fmla="*/ 131 w 349"/>
                <a:gd name="T87" fmla="*/ 193 h 211"/>
                <a:gd name="T88" fmla="*/ 145 w 349"/>
                <a:gd name="T89" fmla="*/ 209 h 211"/>
                <a:gd name="T90" fmla="*/ 166 w 349"/>
                <a:gd name="T91" fmla="*/ 174 h 211"/>
                <a:gd name="T92" fmla="*/ 349 w 349"/>
                <a:gd name="T93" fmla="*/ 124 h 211"/>
                <a:gd name="T94" fmla="*/ 326 w 349"/>
                <a:gd name="T95" fmla="*/ 22 h 211"/>
                <a:gd name="T96" fmla="*/ 323 w 349"/>
                <a:gd name="T97" fmla="*/ 135 h 211"/>
                <a:gd name="T98" fmla="*/ 349 w 349"/>
                <a:gd name="T99" fmla="*/ 124 h 211"/>
                <a:gd name="T100" fmla="*/ 47 w 349"/>
                <a:gd name="T101" fmla="*/ 11 h 211"/>
                <a:gd name="T102" fmla="*/ 3 w 349"/>
                <a:gd name="T103" fmla="*/ 118 h 211"/>
                <a:gd name="T104" fmla="*/ 35 w 349"/>
                <a:gd name="T105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49" h="211">
                  <a:moveTo>
                    <a:pt x="289" y="140"/>
                  </a:moveTo>
                  <a:cubicBezTo>
                    <a:pt x="294" y="144"/>
                    <a:pt x="296" y="154"/>
                    <a:pt x="292" y="160"/>
                  </a:cubicBezTo>
                  <a:cubicBezTo>
                    <a:pt x="289" y="164"/>
                    <a:pt x="285" y="167"/>
                    <a:pt x="279" y="167"/>
                  </a:cubicBezTo>
                  <a:cubicBezTo>
                    <a:pt x="279" y="167"/>
                    <a:pt x="279" y="167"/>
                    <a:pt x="230" y="131"/>
                  </a:cubicBezTo>
                  <a:cubicBezTo>
                    <a:pt x="228" y="130"/>
                    <a:pt x="227" y="131"/>
                    <a:pt x="226" y="132"/>
                  </a:cubicBezTo>
                  <a:cubicBezTo>
                    <a:pt x="226" y="134"/>
                    <a:pt x="226" y="135"/>
                    <a:pt x="227" y="136"/>
                  </a:cubicBezTo>
                  <a:cubicBezTo>
                    <a:pt x="227" y="136"/>
                    <a:pt x="227" y="136"/>
                    <a:pt x="267" y="164"/>
                  </a:cubicBezTo>
                  <a:cubicBezTo>
                    <a:pt x="267" y="168"/>
                    <a:pt x="267" y="172"/>
                    <a:pt x="265" y="177"/>
                  </a:cubicBezTo>
                  <a:cubicBezTo>
                    <a:pt x="262" y="181"/>
                    <a:pt x="257" y="183"/>
                    <a:pt x="253" y="183"/>
                  </a:cubicBezTo>
                  <a:cubicBezTo>
                    <a:pt x="253" y="183"/>
                    <a:pt x="253" y="183"/>
                    <a:pt x="204" y="147"/>
                  </a:cubicBezTo>
                  <a:cubicBezTo>
                    <a:pt x="203" y="147"/>
                    <a:pt x="200" y="147"/>
                    <a:pt x="200" y="148"/>
                  </a:cubicBezTo>
                  <a:cubicBezTo>
                    <a:pt x="199" y="150"/>
                    <a:pt x="199" y="151"/>
                    <a:pt x="200" y="152"/>
                  </a:cubicBezTo>
                  <a:cubicBezTo>
                    <a:pt x="200" y="152"/>
                    <a:pt x="200" y="152"/>
                    <a:pt x="240" y="181"/>
                  </a:cubicBezTo>
                  <a:cubicBezTo>
                    <a:pt x="240" y="185"/>
                    <a:pt x="240" y="189"/>
                    <a:pt x="238" y="193"/>
                  </a:cubicBezTo>
                  <a:cubicBezTo>
                    <a:pt x="235" y="197"/>
                    <a:pt x="231" y="198"/>
                    <a:pt x="226" y="198"/>
                  </a:cubicBezTo>
                  <a:cubicBezTo>
                    <a:pt x="226" y="198"/>
                    <a:pt x="226" y="198"/>
                    <a:pt x="191" y="174"/>
                  </a:cubicBezTo>
                  <a:cubicBezTo>
                    <a:pt x="189" y="172"/>
                    <a:pt x="188" y="172"/>
                    <a:pt x="187" y="174"/>
                  </a:cubicBezTo>
                  <a:cubicBezTo>
                    <a:pt x="187" y="175"/>
                    <a:pt x="187" y="177"/>
                    <a:pt x="188" y="178"/>
                  </a:cubicBezTo>
                  <a:cubicBezTo>
                    <a:pt x="188" y="178"/>
                    <a:pt x="188" y="178"/>
                    <a:pt x="210" y="194"/>
                  </a:cubicBezTo>
                  <a:cubicBezTo>
                    <a:pt x="211" y="198"/>
                    <a:pt x="210" y="202"/>
                    <a:pt x="208" y="205"/>
                  </a:cubicBezTo>
                  <a:cubicBezTo>
                    <a:pt x="204" y="209"/>
                    <a:pt x="200" y="211"/>
                    <a:pt x="196" y="211"/>
                  </a:cubicBezTo>
                  <a:cubicBezTo>
                    <a:pt x="196" y="211"/>
                    <a:pt x="196" y="211"/>
                    <a:pt x="172" y="194"/>
                  </a:cubicBezTo>
                  <a:cubicBezTo>
                    <a:pt x="172" y="194"/>
                    <a:pt x="172" y="194"/>
                    <a:pt x="176" y="175"/>
                  </a:cubicBezTo>
                  <a:cubicBezTo>
                    <a:pt x="176" y="175"/>
                    <a:pt x="176" y="174"/>
                    <a:pt x="176" y="172"/>
                  </a:cubicBezTo>
                  <a:cubicBezTo>
                    <a:pt x="177" y="160"/>
                    <a:pt x="169" y="150"/>
                    <a:pt x="157" y="147"/>
                  </a:cubicBezTo>
                  <a:cubicBezTo>
                    <a:pt x="156" y="146"/>
                    <a:pt x="156" y="146"/>
                    <a:pt x="154" y="146"/>
                  </a:cubicBezTo>
                  <a:cubicBezTo>
                    <a:pt x="153" y="146"/>
                    <a:pt x="152" y="146"/>
                    <a:pt x="150" y="146"/>
                  </a:cubicBezTo>
                  <a:cubicBezTo>
                    <a:pt x="149" y="136"/>
                    <a:pt x="142" y="130"/>
                    <a:pt x="133" y="127"/>
                  </a:cubicBezTo>
                  <a:cubicBezTo>
                    <a:pt x="131" y="127"/>
                    <a:pt x="130" y="127"/>
                    <a:pt x="130" y="127"/>
                  </a:cubicBezTo>
                  <a:cubicBezTo>
                    <a:pt x="123" y="126"/>
                    <a:pt x="118" y="127"/>
                    <a:pt x="114" y="130"/>
                  </a:cubicBezTo>
                  <a:cubicBezTo>
                    <a:pt x="111" y="127"/>
                    <a:pt x="107" y="124"/>
                    <a:pt x="102" y="124"/>
                  </a:cubicBezTo>
                  <a:cubicBezTo>
                    <a:pt x="101" y="124"/>
                    <a:pt x="101" y="124"/>
                    <a:pt x="101" y="124"/>
                  </a:cubicBezTo>
                  <a:cubicBezTo>
                    <a:pt x="95" y="123"/>
                    <a:pt x="90" y="124"/>
                    <a:pt x="86" y="127"/>
                  </a:cubicBezTo>
                  <a:cubicBezTo>
                    <a:pt x="82" y="124"/>
                    <a:pt x="76" y="121"/>
                    <a:pt x="72" y="121"/>
                  </a:cubicBezTo>
                  <a:cubicBezTo>
                    <a:pt x="70" y="121"/>
                    <a:pt x="67" y="121"/>
                    <a:pt x="64" y="121"/>
                  </a:cubicBezTo>
                  <a:cubicBezTo>
                    <a:pt x="56" y="124"/>
                    <a:pt x="51" y="128"/>
                    <a:pt x="48" y="135"/>
                  </a:cubicBezTo>
                  <a:cubicBezTo>
                    <a:pt x="48" y="135"/>
                    <a:pt x="48" y="135"/>
                    <a:pt x="44" y="134"/>
                  </a:cubicBezTo>
                  <a:cubicBezTo>
                    <a:pt x="43" y="81"/>
                    <a:pt x="71" y="27"/>
                    <a:pt x="71" y="27"/>
                  </a:cubicBezTo>
                  <a:cubicBezTo>
                    <a:pt x="71" y="27"/>
                    <a:pt x="76" y="27"/>
                    <a:pt x="84" y="27"/>
                  </a:cubicBezTo>
                  <a:cubicBezTo>
                    <a:pt x="79" y="33"/>
                    <a:pt x="75" y="40"/>
                    <a:pt x="75" y="46"/>
                  </a:cubicBezTo>
                  <a:cubicBezTo>
                    <a:pt x="74" y="53"/>
                    <a:pt x="75" y="58"/>
                    <a:pt x="78" y="64"/>
                  </a:cubicBezTo>
                  <a:cubicBezTo>
                    <a:pt x="83" y="73"/>
                    <a:pt x="91" y="79"/>
                    <a:pt x="101" y="79"/>
                  </a:cubicBezTo>
                  <a:cubicBezTo>
                    <a:pt x="101" y="79"/>
                    <a:pt x="101" y="79"/>
                    <a:pt x="101" y="79"/>
                  </a:cubicBezTo>
                  <a:cubicBezTo>
                    <a:pt x="106" y="80"/>
                    <a:pt x="113" y="79"/>
                    <a:pt x="118" y="76"/>
                  </a:cubicBezTo>
                  <a:cubicBezTo>
                    <a:pt x="118" y="76"/>
                    <a:pt x="118" y="76"/>
                    <a:pt x="122" y="73"/>
                  </a:cubicBezTo>
                  <a:cubicBezTo>
                    <a:pt x="122" y="73"/>
                    <a:pt x="122" y="73"/>
                    <a:pt x="158" y="53"/>
                  </a:cubicBezTo>
                  <a:cubicBezTo>
                    <a:pt x="158" y="53"/>
                    <a:pt x="158" y="53"/>
                    <a:pt x="183" y="64"/>
                  </a:cubicBezTo>
                  <a:cubicBezTo>
                    <a:pt x="183" y="64"/>
                    <a:pt x="183" y="64"/>
                    <a:pt x="289" y="140"/>
                  </a:cubicBezTo>
                  <a:close/>
                  <a:moveTo>
                    <a:pt x="253" y="41"/>
                  </a:moveTo>
                  <a:cubicBezTo>
                    <a:pt x="250" y="41"/>
                    <a:pt x="246" y="40"/>
                    <a:pt x="242" y="37"/>
                  </a:cubicBezTo>
                  <a:cubicBezTo>
                    <a:pt x="165" y="2"/>
                    <a:pt x="165" y="2"/>
                    <a:pt x="165" y="2"/>
                  </a:cubicBezTo>
                  <a:cubicBezTo>
                    <a:pt x="160" y="0"/>
                    <a:pt x="153" y="1"/>
                    <a:pt x="148" y="4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85" y="39"/>
                    <a:pt x="82" y="51"/>
                    <a:pt x="87" y="60"/>
                  </a:cubicBezTo>
                  <a:cubicBezTo>
                    <a:pt x="90" y="66"/>
                    <a:pt x="96" y="70"/>
                    <a:pt x="102" y="70"/>
                  </a:cubicBezTo>
                  <a:cubicBezTo>
                    <a:pt x="106" y="70"/>
                    <a:pt x="110" y="70"/>
                    <a:pt x="113" y="67"/>
                  </a:cubicBezTo>
                  <a:cubicBezTo>
                    <a:pt x="113" y="67"/>
                    <a:pt x="113" y="67"/>
                    <a:pt x="113" y="67"/>
                  </a:cubicBezTo>
                  <a:cubicBezTo>
                    <a:pt x="159" y="43"/>
                    <a:pt x="159" y="43"/>
                    <a:pt x="159" y="43"/>
                  </a:cubicBezTo>
                  <a:cubicBezTo>
                    <a:pt x="188" y="56"/>
                    <a:pt x="188" y="56"/>
                    <a:pt x="188" y="56"/>
                  </a:cubicBezTo>
                  <a:cubicBezTo>
                    <a:pt x="228" y="86"/>
                    <a:pt x="228" y="86"/>
                    <a:pt x="228" y="86"/>
                  </a:cubicBezTo>
                  <a:cubicBezTo>
                    <a:pt x="294" y="133"/>
                    <a:pt x="294" y="133"/>
                    <a:pt x="294" y="133"/>
                  </a:cubicBezTo>
                  <a:cubicBezTo>
                    <a:pt x="295" y="134"/>
                    <a:pt x="295" y="134"/>
                    <a:pt x="295" y="134"/>
                  </a:cubicBezTo>
                  <a:cubicBezTo>
                    <a:pt x="314" y="130"/>
                    <a:pt x="314" y="130"/>
                    <a:pt x="314" y="130"/>
                  </a:cubicBezTo>
                  <a:cubicBezTo>
                    <a:pt x="317" y="68"/>
                    <a:pt x="289" y="39"/>
                    <a:pt x="289" y="39"/>
                  </a:cubicBezTo>
                  <a:cubicBezTo>
                    <a:pt x="289" y="39"/>
                    <a:pt x="261" y="44"/>
                    <a:pt x="253" y="41"/>
                  </a:cubicBezTo>
                  <a:close/>
                  <a:moveTo>
                    <a:pt x="155" y="157"/>
                  </a:moveTo>
                  <a:cubicBezTo>
                    <a:pt x="149" y="156"/>
                    <a:pt x="142" y="158"/>
                    <a:pt x="139" y="164"/>
                  </a:cubicBezTo>
                  <a:cubicBezTo>
                    <a:pt x="141" y="154"/>
                    <a:pt x="141" y="154"/>
                    <a:pt x="141" y="154"/>
                  </a:cubicBezTo>
                  <a:cubicBezTo>
                    <a:pt x="143" y="146"/>
                    <a:pt x="138" y="138"/>
                    <a:pt x="130" y="137"/>
                  </a:cubicBezTo>
                  <a:cubicBezTo>
                    <a:pt x="122" y="135"/>
                    <a:pt x="114" y="139"/>
                    <a:pt x="112" y="148"/>
                  </a:cubicBezTo>
                  <a:cubicBezTo>
                    <a:pt x="112" y="149"/>
                    <a:pt x="112" y="149"/>
                    <a:pt x="112" y="149"/>
                  </a:cubicBezTo>
                  <a:cubicBezTo>
                    <a:pt x="112" y="142"/>
                    <a:pt x="107" y="135"/>
                    <a:pt x="100" y="134"/>
                  </a:cubicBezTo>
                  <a:cubicBezTo>
                    <a:pt x="94" y="133"/>
                    <a:pt x="86" y="137"/>
                    <a:pt x="84" y="143"/>
                  </a:cubicBezTo>
                  <a:cubicBezTo>
                    <a:pt x="84" y="143"/>
                    <a:pt x="84" y="143"/>
                    <a:pt x="84" y="143"/>
                  </a:cubicBezTo>
                  <a:cubicBezTo>
                    <a:pt x="82" y="135"/>
                    <a:pt x="74" y="130"/>
                    <a:pt x="67" y="131"/>
                  </a:cubicBezTo>
                  <a:cubicBezTo>
                    <a:pt x="59" y="134"/>
                    <a:pt x="53" y="141"/>
                    <a:pt x="55" y="149"/>
                  </a:cubicBezTo>
                  <a:cubicBezTo>
                    <a:pt x="59" y="168"/>
                    <a:pt x="59" y="168"/>
                    <a:pt x="59" y="168"/>
                  </a:cubicBezTo>
                  <a:cubicBezTo>
                    <a:pt x="60" y="173"/>
                    <a:pt x="65" y="178"/>
                    <a:pt x="72" y="178"/>
                  </a:cubicBezTo>
                  <a:cubicBezTo>
                    <a:pt x="74" y="178"/>
                    <a:pt x="75" y="178"/>
                    <a:pt x="76" y="178"/>
                  </a:cubicBezTo>
                  <a:cubicBezTo>
                    <a:pt x="78" y="178"/>
                    <a:pt x="78" y="178"/>
                    <a:pt x="79" y="177"/>
                  </a:cubicBezTo>
                  <a:cubicBezTo>
                    <a:pt x="80" y="182"/>
                    <a:pt x="84" y="186"/>
                    <a:pt x="90" y="188"/>
                  </a:cubicBezTo>
                  <a:cubicBezTo>
                    <a:pt x="91" y="188"/>
                    <a:pt x="91" y="188"/>
                    <a:pt x="91" y="188"/>
                  </a:cubicBezTo>
                  <a:cubicBezTo>
                    <a:pt x="96" y="188"/>
                    <a:pt x="102" y="185"/>
                    <a:pt x="106" y="181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9"/>
                    <a:pt x="108" y="197"/>
                    <a:pt x="116" y="200"/>
                  </a:cubicBezTo>
                  <a:cubicBezTo>
                    <a:pt x="116" y="200"/>
                    <a:pt x="116" y="200"/>
                    <a:pt x="118" y="200"/>
                  </a:cubicBezTo>
                  <a:cubicBezTo>
                    <a:pt x="123" y="200"/>
                    <a:pt x="129" y="197"/>
                    <a:pt x="131" y="193"/>
                  </a:cubicBezTo>
                  <a:cubicBezTo>
                    <a:pt x="131" y="200"/>
                    <a:pt x="135" y="206"/>
                    <a:pt x="143" y="209"/>
                  </a:cubicBezTo>
                  <a:cubicBezTo>
                    <a:pt x="143" y="209"/>
                    <a:pt x="143" y="209"/>
                    <a:pt x="145" y="209"/>
                  </a:cubicBezTo>
                  <a:cubicBezTo>
                    <a:pt x="151" y="209"/>
                    <a:pt x="158" y="205"/>
                    <a:pt x="161" y="197"/>
                  </a:cubicBezTo>
                  <a:cubicBezTo>
                    <a:pt x="166" y="174"/>
                    <a:pt x="166" y="174"/>
                    <a:pt x="166" y="174"/>
                  </a:cubicBezTo>
                  <a:cubicBezTo>
                    <a:pt x="168" y="166"/>
                    <a:pt x="162" y="158"/>
                    <a:pt x="155" y="157"/>
                  </a:cubicBezTo>
                  <a:close/>
                  <a:moveTo>
                    <a:pt x="349" y="124"/>
                  </a:moveTo>
                  <a:cubicBezTo>
                    <a:pt x="338" y="30"/>
                    <a:pt x="338" y="30"/>
                    <a:pt x="338" y="30"/>
                  </a:cubicBezTo>
                  <a:cubicBezTo>
                    <a:pt x="337" y="24"/>
                    <a:pt x="332" y="21"/>
                    <a:pt x="326" y="22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328" y="64"/>
                    <a:pt x="323" y="135"/>
                  </a:cubicBezTo>
                  <a:cubicBezTo>
                    <a:pt x="338" y="135"/>
                    <a:pt x="338" y="135"/>
                    <a:pt x="338" y="135"/>
                  </a:cubicBezTo>
                  <a:cubicBezTo>
                    <a:pt x="345" y="135"/>
                    <a:pt x="349" y="130"/>
                    <a:pt x="349" y="124"/>
                  </a:cubicBezTo>
                  <a:close/>
                  <a:moveTo>
                    <a:pt x="63" y="21"/>
                  </a:moveTo>
                  <a:cubicBezTo>
                    <a:pt x="47" y="11"/>
                    <a:pt x="47" y="11"/>
                    <a:pt x="47" y="11"/>
                  </a:cubicBezTo>
                  <a:cubicBezTo>
                    <a:pt x="42" y="9"/>
                    <a:pt x="36" y="11"/>
                    <a:pt x="34" y="17"/>
                  </a:cubicBezTo>
                  <a:cubicBezTo>
                    <a:pt x="3" y="118"/>
                    <a:pt x="3" y="118"/>
                    <a:pt x="3" y="118"/>
                  </a:cubicBezTo>
                  <a:cubicBezTo>
                    <a:pt x="0" y="124"/>
                    <a:pt x="4" y="130"/>
                    <a:pt x="9" y="130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2" y="79"/>
                    <a:pt x="63" y="21"/>
                    <a:pt x="63" y="2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>
                <a:defRPr/>
              </a:pPr>
              <a:endParaRPr lang="en-US" sz="1400" kern="0" dirty="0">
                <a:solidFill>
                  <a:prstClr val="black"/>
                </a:solidFill>
                <a:latin typeface="Arial"/>
              </a:endParaRPr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2857F0D9-D429-4F0B-8FAF-D230D97B98D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65651" y="2141618"/>
              <a:ext cx="276438" cy="401414"/>
            </a:xfrm>
            <a:prstGeom prst="rect">
              <a:avLst/>
            </a:prstGeom>
          </p:spPr>
        </p:pic>
        <p:sp>
          <p:nvSpPr>
            <p:cNvPr id="45" name="Rectangle 44"/>
            <p:cNvSpPr/>
            <p:nvPr/>
          </p:nvSpPr>
          <p:spPr>
            <a:xfrm>
              <a:off x="9528092" y="2053511"/>
              <a:ext cx="1554480" cy="785525"/>
            </a:xfrm>
            <a:prstGeom prst="rect">
              <a:avLst/>
            </a:prstGeom>
            <a:noFill/>
            <a:ln w="12700" cap="sq">
              <a:solidFill>
                <a:schemeClr val="accent6">
                  <a:lumMod val="9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08" rIns="0" bIns="91416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>
                <a:defRPr/>
              </a:pPr>
              <a:endParaRPr lang="en-US" sz="1050" b="1" dirty="0">
                <a:solidFill>
                  <a:srgbClr val="626469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9528092" y="1660068"/>
              <a:ext cx="1554480" cy="41148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 cap="sq">
              <a:solidFill>
                <a:schemeClr val="accent4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>
                <a:defRPr/>
              </a:pPr>
              <a:r>
                <a:rPr lang="en-US" sz="1050" dirty="0">
                  <a:solidFill>
                    <a:srgbClr val="FFFFFF"/>
                  </a:solidFill>
                </a:rPr>
                <a:t>ANY APPLICATION</a:t>
              </a:r>
            </a:p>
          </p:txBody>
        </p:sp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4B2EB192-25CD-4114-B169-ABB15008A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003" y="2143128"/>
              <a:ext cx="263525" cy="403226"/>
            </a:xfrm>
            <a:custGeom>
              <a:avLst/>
              <a:gdLst>
                <a:gd name="T0" fmla="*/ 82 w 344"/>
                <a:gd name="T1" fmla="*/ 241 h 527"/>
                <a:gd name="T2" fmla="*/ 69 w 344"/>
                <a:gd name="T3" fmla="*/ 247 h 527"/>
                <a:gd name="T4" fmla="*/ 59 w 344"/>
                <a:gd name="T5" fmla="*/ 237 h 527"/>
                <a:gd name="T6" fmla="*/ 52 w 344"/>
                <a:gd name="T7" fmla="*/ 171 h 527"/>
                <a:gd name="T8" fmla="*/ 29 w 344"/>
                <a:gd name="T9" fmla="*/ 142 h 527"/>
                <a:gd name="T10" fmla="*/ 26 w 344"/>
                <a:gd name="T11" fmla="*/ 142 h 527"/>
                <a:gd name="T12" fmla="*/ 0 w 344"/>
                <a:gd name="T13" fmla="*/ 166 h 527"/>
                <a:gd name="T14" fmla="*/ 6 w 344"/>
                <a:gd name="T15" fmla="*/ 364 h 527"/>
                <a:gd name="T16" fmla="*/ 7 w 344"/>
                <a:gd name="T17" fmla="*/ 403 h 527"/>
                <a:gd name="T18" fmla="*/ 46 w 344"/>
                <a:gd name="T19" fmla="*/ 465 h 527"/>
                <a:gd name="T20" fmla="*/ 107 w 344"/>
                <a:gd name="T21" fmla="*/ 495 h 527"/>
                <a:gd name="T22" fmla="*/ 155 w 344"/>
                <a:gd name="T23" fmla="*/ 518 h 527"/>
                <a:gd name="T24" fmla="*/ 232 w 344"/>
                <a:gd name="T25" fmla="*/ 494 h 527"/>
                <a:gd name="T26" fmla="*/ 341 w 344"/>
                <a:gd name="T27" fmla="*/ 288 h 527"/>
                <a:gd name="T28" fmla="*/ 341 w 344"/>
                <a:gd name="T29" fmla="*/ 267 h 527"/>
                <a:gd name="T30" fmla="*/ 332 w 344"/>
                <a:gd name="T31" fmla="*/ 256 h 527"/>
                <a:gd name="T32" fmla="*/ 306 w 344"/>
                <a:gd name="T33" fmla="*/ 260 h 527"/>
                <a:gd name="T34" fmla="*/ 280 w 344"/>
                <a:gd name="T35" fmla="*/ 309 h 527"/>
                <a:gd name="T36" fmla="*/ 264 w 344"/>
                <a:gd name="T37" fmla="*/ 315 h 527"/>
                <a:gd name="T38" fmla="*/ 258 w 344"/>
                <a:gd name="T39" fmla="*/ 299 h 527"/>
                <a:gd name="T40" fmla="*/ 285 w 344"/>
                <a:gd name="T41" fmla="*/ 248 h 527"/>
                <a:gd name="T42" fmla="*/ 285 w 344"/>
                <a:gd name="T43" fmla="*/ 247 h 527"/>
                <a:gd name="T44" fmla="*/ 294 w 344"/>
                <a:gd name="T45" fmla="*/ 226 h 527"/>
                <a:gd name="T46" fmla="*/ 282 w 344"/>
                <a:gd name="T47" fmla="*/ 200 h 527"/>
                <a:gd name="T48" fmla="*/ 256 w 344"/>
                <a:gd name="T49" fmla="*/ 206 h 527"/>
                <a:gd name="T50" fmla="*/ 222 w 344"/>
                <a:gd name="T51" fmla="*/ 272 h 527"/>
                <a:gd name="T52" fmla="*/ 201 w 344"/>
                <a:gd name="T53" fmla="*/ 261 h 527"/>
                <a:gd name="T54" fmla="*/ 237 w 344"/>
                <a:gd name="T55" fmla="*/ 190 h 527"/>
                <a:gd name="T56" fmla="*/ 230 w 344"/>
                <a:gd name="T57" fmla="*/ 154 h 527"/>
                <a:gd name="T58" fmla="*/ 214 w 344"/>
                <a:gd name="T59" fmla="*/ 151 h 527"/>
                <a:gd name="T60" fmla="*/ 198 w 344"/>
                <a:gd name="T61" fmla="*/ 165 h 527"/>
                <a:gd name="T62" fmla="*/ 198 w 344"/>
                <a:gd name="T63" fmla="*/ 166 h 527"/>
                <a:gd name="T64" fmla="*/ 166 w 344"/>
                <a:gd name="T65" fmla="*/ 230 h 527"/>
                <a:gd name="T66" fmla="*/ 144 w 344"/>
                <a:gd name="T67" fmla="*/ 219 h 527"/>
                <a:gd name="T68" fmla="*/ 235 w 344"/>
                <a:gd name="T69" fmla="*/ 35 h 527"/>
                <a:gd name="T70" fmla="*/ 235 w 344"/>
                <a:gd name="T71" fmla="*/ 19 h 527"/>
                <a:gd name="T72" fmla="*/ 221 w 344"/>
                <a:gd name="T73" fmla="*/ 4 h 527"/>
                <a:gd name="T74" fmla="*/ 193 w 344"/>
                <a:gd name="T75" fmla="*/ 18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4" h="527">
                  <a:moveTo>
                    <a:pt x="82" y="241"/>
                  </a:moveTo>
                  <a:cubicBezTo>
                    <a:pt x="80" y="246"/>
                    <a:pt x="75" y="248"/>
                    <a:pt x="69" y="247"/>
                  </a:cubicBezTo>
                  <a:cubicBezTo>
                    <a:pt x="64" y="246"/>
                    <a:pt x="60" y="242"/>
                    <a:pt x="59" y="237"/>
                  </a:cubicBezTo>
                  <a:cubicBezTo>
                    <a:pt x="59" y="236"/>
                    <a:pt x="55" y="186"/>
                    <a:pt x="52" y="171"/>
                  </a:cubicBezTo>
                  <a:cubicBezTo>
                    <a:pt x="49" y="152"/>
                    <a:pt x="41" y="142"/>
                    <a:pt x="29" y="142"/>
                  </a:cubicBezTo>
                  <a:cubicBezTo>
                    <a:pt x="28" y="142"/>
                    <a:pt x="27" y="142"/>
                    <a:pt x="26" y="142"/>
                  </a:cubicBezTo>
                  <a:cubicBezTo>
                    <a:pt x="10" y="143"/>
                    <a:pt x="1" y="152"/>
                    <a:pt x="0" y="166"/>
                  </a:cubicBezTo>
                  <a:cubicBezTo>
                    <a:pt x="0" y="177"/>
                    <a:pt x="4" y="303"/>
                    <a:pt x="6" y="364"/>
                  </a:cubicBezTo>
                  <a:cubicBezTo>
                    <a:pt x="6" y="385"/>
                    <a:pt x="7" y="400"/>
                    <a:pt x="7" y="403"/>
                  </a:cubicBezTo>
                  <a:cubicBezTo>
                    <a:pt x="7" y="419"/>
                    <a:pt x="13" y="449"/>
                    <a:pt x="46" y="465"/>
                  </a:cubicBezTo>
                  <a:cubicBezTo>
                    <a:pt x="67" y="475"/>
                    <a:pt x="88" y="485"/>
                    <a:pt x="107" y="495"/>
                  </a:cubicBezTo>
                  <a:cubicBezTo>
                    <a:pt x="128" y="505"/>
                    <a:pt x="145" y="513"/>
                    <a:pt x="155" y="518"/>
                  </a:cubicBezTo>
                  <a:cubicBezTo>
                    <a:pt x="175" y="527"/>
                    <a:pt x="218" y="519"/>
                    <a:pt x="232" y="494"/>
                  </a:cubicBezTo>
                  <a:cubicBezTo>
                    <a:pt x="257" y="449"/>
                    <a:pt x="333" y="302"/>
                    <a:pt x="341" y="288"/>
                  </a:cubicBezTo>
                  <a:cubicBezTo>
                    <a:pt x="343" y="284"/>
                    <a:pt x="344" y="275"/>
                    <a:pt x="341" y="267"/>
                  </a:cubicBezTo>
                  <a:cubicBezTo>
                    <a:pt x="340" y="264"/>
                    <a:pt x="337" y="258"/>
                    <a:pt x="332" y="256"/>
                  </a:cubicBezTo>
                  <a:cubicBezTo>
                    <a:pt x="319" y="250"/>
                    <a:pt x="309" y="255"/>
                    <a:pt x="306" y="260"/>
                  </a:cubicBezTo>
                  <a:cubicBezTo>
                    <a:pt x="300" y="270"/>
                    <a:pt x="280" y="309"/>
                    <a:pt x="280" y="309"/>
                  </a:cubicBezTo>
                  <a:cubicBezTo>
                    <a:pt x="277" y="315"/>
                    <a:pt x="270" y="318"/>
                    <a:pt x="264" y="315"/>
                  </a:cubicBezTo>
                  <a:cubicBezTo>
                    <a:pt x="258" y="312"/>
                    <a:pt x="255" y="305"/>
                    <a:pt x="258" y="299"/>
                  </a:cubicBezTo>
                  <a:cubicBezTo>
                    <a:pt x="259" y="297"/>
                    <a:pt x="278" y="259"/>
                    <a:pt x="285" y="248"/>
                  </a:cubicBezTo>
                  <a:cubicBezTo>
                    <a:pt x="285" y="248"/>
                    <a:pt x="285" y="248"/>
                    <a:pt x="285" y="247"/>
                  </a:cubicBezTo>
                  <a:cubicBezTo>
                    <a:pt x="286" y="245"/>
                    <a:pt x="292" y="232"/>
                    <a:pt x="294" y="226"/>
                  </a:cubicBezTo>
                  <a:cubicBezTo>
                    <a:pt x="294" y="224"/>
                    <a:pt x="299" y="209"/>
                    <a:pt x="282" y="200"/>
                  </a:cubicBezTo>
                  <a:cubicBezTo>
                    <a:pt x="270" y="193"/>
                    <a:pt x="258" y="204"/>
                    <a:pt x="256" y="206"/>
                  </a:cubicBezTo>
                  <a:cubicBezTo>
                    <a:pt x="247" y="223"/>
                    <a:pt x="222" y="272"/>
                    <a:pt x="222" y="272"/>
                  </a:cubicBezTo>
                  <a:cubicBezTo>
                    <a:pt x="201" y="261"/>
                    <a:pt x="201" y="261"/>
                    <a:pt x="201" y="261"/>
                  </a:cubicBezTo>
                  <a:cubicBezTo>
                    <a:pt x="201" y="261"/>
                    <a:pt x="232" y="198"/>
                    <a:pt x="237" y="190"/>
                  </a:cubicBezTo>
                  <a:cubicBezTo>
                    <a:pt x="237" y="190"/>
                    <a:pt x="248" y="166"/>
                    <a:pt x="230" y="154"/>
                  </a:cubicBezTo>
                  <a:cubicBezTo>
                    <a:pt x="224" y="151"/>
                    <a:pt x="219" y="150"/>
                    <a:pt x="214" y="151"/>
                  </a:cubicBezTo>
                  <a:cubicBezTo>
                    <a:pt x="207" y="153"/>
                    <a:pt x="201" y="159"/>
                    <a:pt x="198" y="165"/>
                  </a:cubicBezTo>
                  <a:cubicBezTo>
                    <a:pt x="198" y="165"/>
                    <a:pt x="198" y="166"/>
                    <a:pt x="198" y="166"/>
                  </a:cubicBezTo>
                  <a:cubicBezTo>
                    <a:pt x="181" y="201"/>
                    <a:pt x="166" y="230"/>
                    <a:pt x="166" y="230"/>
                  </a:cubicBezTo>
                  <a:cubicBezTo>
                    <a:pt x="144" y="219"/>
                    <a:pt x="144" y="219"/>
                    <a:pt x="144" y="219"/>
                  </a:cubicBezTo>
                  <a:cubicBezTo>
                    <a:pt x="144" y="219"/>
                    <a:pt x="226" y="53"/>
                    <a:pt x="235" y="35"/>
                  </a:cubicBezTo>
                  <a:cubicBezTo>
                    <a:pt x="238" y="29"/>
                    <a:pt x="237" y="23"/>
                    <a:pt x="235" y="19"/>
                  </a:cubicBezTo>
                  <a:cubicBezTo>
                    <a:pt x="233" y="13"/>
                    <a:pt x="227" y="7"/>
                    <a:pt x="221" y="4"/>
                  </a:cubicBezTo>
                  <a:cubicBezTo>
                    <a:pt x="210" y="0"/>
                    <a:pt x="198" y="8"/>
                    <a:pt x="193" y="18"/>
                  </a:cubicBezTo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 w="9525">
              <a:solidFill>
                <a:srgbClr val="F2F2F2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C96396BB-C593-42AC-8DFA-3546319935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8953" y="2122490"/>
              <a:ext cx="300038" cy="438151"/>
            </a:xfrm>
            <a:custGeom>
              <a:avLst/>
              <a:gdLst>
                <a:gd name="T0" fmla="*/ 366 w 392"/>
                <a:gd name="T1" fmla="*/ 262 h 574"/>
                <a:gd name="T2" fmla="*/ 342 w 392"/>
                <a:gd name="T3" fmla="*/ 257 h 574"/>
                <a:gd name="T4" fmla="*/ 318 w 392"/>
                <a:gd name="T5" fmla="*/ 206 h 574"/>
                <a:gd name="T6" fmla="*/ 288 w 392"/>
                <a:gd name="T7" fmla="*/ 202 h 574"/>
                <a:gd name="T8" fmla="*/ 267 w 392"/>
                <a:gd name="T9" fmla="*/ 162 h 574"/>
                <a:gd name="T10" fmla="*/ 241 w 392"/>
                <a:gd name="T11" fmla="*/ 154 h 574"/>
                <a:gd name="T12" fmla="*/ 281 w 392"/>
                <a:gd name="T13" fmla="*/ 73 h 574"/>
                <a:gd name="T14" fmla="*/ 282 w 392"/>
                <a:gd name="T15" fmla="*/ 38 h 574"/>
                <a:gd name="T16" fmla="*/ 255 w 392"/>
                <a:gd name="T17" fmla="*/ 10 h 574"/>
                <a:gd name="T18" fmla="*/ 196 w 392"/>
                <a:gd name="T19" fmla="*/ 34 h 574"/>
                <a:gd name="T20" fmla="*/ 103 w 392"/>
                <a:gd name="T21" fmla="*/ 220 h 574"/>
                <a:gd name="T22" fmla="*/ 100 w 392"/>
                <a:gd name="T23" fmla="*/ 196 h 574"/>
                <a:gd name="T24" fmla="*/ 48 w 392"/>
                <a:gd name="T25" fmla="*/ 145 h 574"/>
                <a:gd name="T26" fmla="*/ 0 w 392"/>
                <a:gd name="T27" fmla="*/ 193 h 574"/>
                <a:gd name="T28" fmla="*/ 5 w 392"/>
                <a:gd name="T29" fmla="*/ 393 h 574"/>
                <a:gd name="T30" fmla="*/ 6 w 392"/>
                <a:gd name="T31" fmla="*/ 432 h 574"/>
                <a:gd name="T32" fmla="*/ 60 w 392"/>
                <a:gd name="T33" fmla="*/ 515 h 574"/>
                <a:gd name="T34" fmla="*/ 120 w 392"/>
                <a:gd name="T35" fmla="*/ 544 h 574"/>
                <a:gd name="T36" fmla="*/ 170 w 392"/>
                <a:gd name="T37" fmla="*/ 568 h 574"/>
                <a:gd name="T38" fmla="*/ 199 w 392"/>
                <a:gd name="T39" fmla="*/ 574 h 574"/>
                <a:gd name="T40" fmla="*/ 278 w 392"/>
                <a:gd name="T41" fmla="*/ 533 h 574"/>
                <a:gd name="T42" fmla="*/ 386 w 392"/>
                <a:gd name="T43" fmla="*/ 327 h 574"/>
                <a:gd name="T44" fmla="*/ 388 w 392"/>
                <a:gd name="T45" fmla="*/ 288 h 574"/>
                <a:gd name="T46" fmla="*/ 366 w 392"/>
                <a:gd name="T47" fmla="*/ 262 h 574"/>
                <a:gd name="T48" fmla="*/ 365 w 392"/>
                <a:gd name="T49" fmla="*/ 316 h 574"/>
                <a:gd name="T50" fmla="*/ 256 w 392"/>
                <a:gd name="T51" fmla="*/ 522 h 574"/>
                <a:gd name="T52" fmla="*/ 179 w 392"/>
                <a:gd name="T53" fmla="*/ 546 h 574"/>
                <a:gd name="T54" fmla="*/ 131 w 392"/>
                <a:gd name="T55" fmla="*/ 523 h 574"/>
                <a:gd name="T56" fmla="*/ 70 w 392"/>
                <a:gd name="T57" fmla="*/ 493 h 574"/>
                <a:gd name="T58" fmla="*/ 31 w 392"/>
                <a:gd name="T59" fmla="*/ 431 h 574"/>
                <a:gd name="T60" fmla="*/ 30 w 392"/>
                <a:gd name="T61" fmla="*/ 392 h 574"/>
                <a:gd name="T62" fmla="*/ 24 w 392"/>
                <a:gd name="T63" fmla="*/ 194 h 574"/>
                <a:gd name="T64" fmla="*/ 50 w 392"/>
                <a:gd name="T65" fmla="*/ 170 h 574"/>
                <a:gd name="T66" fmla="*/ 53 w 392"/>
                <a:gd name="T67" fmla="*/ 170 h 574"/>
                <a:gd name="T68" fmla="*/ 76 w 392"/>
                <a:gd name="T69" fmla="*/ 199 h 574"/>
                <a:gd name="T70" fmla="*/ 83 w 392"/>
                <a:gd name="T71" fmla="*/ 265 h 574"/>
                <a:gd name="T72" fmla="*/ 93 w 392"/>
                <a:gd name="T73" fmla="*/ 275 h 574"/>
                <a:gd name="T74" fmla="*/ 106 w 392"/>
                <a:gd name="T75" fmla="*/ 269 h 574"/>
                <a:gd name="T76" fmla="*/ 217 w 392"/>
                <a:gd name="T77" fmla="*/ 46 h 574"/>
                <a:gd name="T78" fmla="*/ 245 w 392"/>
                <a:gd name="T79" fmla="*/ 32 h 574"/>
                <a:gd name="T80" fmla="*/ 259 w 392"/>
                <a:gd name="T81" fmla="*/ 47 h 574"/>
                <a:gd name="T82" fmla="*/ 259 w 392"/>
                <a:gd name="T83" fmla="*/ 63 h 574"/>
                <a:gd name="T84" fmla="*/ 168 w 392"/>
                <a:gd name="T85" fmla="*/ 247 h 574"/>
                <a:gd name="T86" fmla="*/ 190 w 392"/>
                <a:gd name="T87" fmla="*/ 258 h 574"/>
                <a:gd name="T88" fmla="*/ 222 w 392"/>
                <a:gd name="T89" fmla="*/ 194 h 574"/>
                <a:gd name="T90" fmla="*/ 222 w 392"/>
                <a:gd name="T91" fmla="*/ 193 h 574"/>
                <a:gd name="T92" fmla="*/ 238 w 392"/>
                <a:gd name="T93" fmla="*/ 179 h 574"/>
                <a:gd name="T94" fmla="*/ 254 w 392"/>
                <a:gd name="T95" fmla="*/ 182 h 574"/>
                <a:gd name="T96" fmla="*/ 261 w 392"/>
                <a:gd name="T97" fmla="*/ 218 h 574"/>
                <a:gd name="T98" fmla="*/ 225 w 392"/>
                <a:gd name="T99" fmla="*/ 289 h 574"/>
                <a:gd name="T100" fmla="*/ 246 w 392"/>
                <a:gd name="T101" fmla="*/ 300 h 574"/>
                <a:gd name="T102" fmla="*/ 280 w 392"/>
                <a:gd name="T103" fmla="*/ 234 h 574"/>
                <a:gd name="T104" fmla="*/ 306 w 392"/>
                <a:gd name="T105" fmla="*/ 228 h 574"/>
                <a:gd name="T106" fmla="*/ 318 w 392"/>
                <a:gd name="T107" fmla="*/ 254 h 574"/>
                <a:gd name="T108" fmla="*/ 309 w 392"/>
                <a:gd name="T109" fmla="*/ 275 h 574"/>
                <a:gd name="T110" fmla="*/ 309 w 392"/>
                <a:gd name="T111" fmla="*/ 276 h 574"/>
                <a:gd name="T112" fmla="*/ 282 w 392"/>
                <a:gd name="T113" fmla="*/ 327 h 574"/>
                <a:gd name="T114" fmla="*/ 288 w 392"/>
                <a:gd name="T115" fmla="*/ 343 h 574"/>
                <a:gd name="T116" fmla="*/ 304 w 392"/>
                <a:gd name="T117" fmla="*/ 337 h 574"/>
                <a:gd name="T118" fmla="*/ 330 w 392"/>
                <a:gd name="T119" fmla="*/ 288 h 574"/>
                <a:gd name="T120" fmla="*/ 356 w 392"/>
                <a:gd name="T121" fmla="*/ 284 h 574"/>
                <a:gd name="T122" fmla="*/ 365 w 392"/>
                <a:gd name="T123" fmla="*/ 295 h 574"/>
                <a:gd name="T124" fmla="*/ 365 w 392"/>
                <a:gd name="T125" fmla="*/ 316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2" h="574">
                  <a:moveTo>
                    <a:pt x="366" y="262"/>
                  </a:moveTo>
                  <a:cubicBezTo>
                    <a:pt x="358" y="258"/>
                    <a:pt x="350" y="256"/>
                    <a:pt x="342" y="257"/>
                  </a:cubicBezTo>
                  <a:cubicBezTo>
                    <a:pt x="345" y="243"/>
                    <a:pt x="342" y="220"/>
                    <a:pt x="318" y="206"/>
                  </a:cubicBezTo>
                  <a:cubicBezTo>
                    <a:pt x="307" y="201"/>
                    <a:pt x="297" y="200"/>
                    <a:pt x="288" y="202"/>
                  </a:cubicBezTo>
                  <a:cubicBezTo>
                    <a:pt x="288" y="188"/>
                    <a:pt x="283" y="172"/>
                    <a:pt x="267" y="162"/>
                  </a:cubicBezTo>
                  <a:cubicBezTo>
                    <a:pt x="257" y="156"/>
                    <a:pt x="248" y="154"/>
                    <a:pt x="241" y="154"/>
                  </a:cubicBezTo>
                  <a:cubicBezTo>
                    <a:pt x="260" y="116"/>
                    <a:pt x="277" y="81"/>
                    <a:pt x="281" y="73"/>
                  </a:cubicBezTo>
                  <a:cubicBezTo>
                    <a:pt x="286" y="62"/>
                    <a:pt x="287" y="50"/>
                    <a:pt x="282" y="38"/>
                  </a:cubicBezTo>
                  <a:cubicBezTo>
                    <a:pt x="277" y="26"/>
                    <a:pt x="267" y="15"/>
                    <a:pt x="255" y="10"/>
                  </a:cubicBezTo>
                  <a:cubicBezTo>
                    <a:pt x="230" y="0"/>
                    <a:pt x="206" y="14"/>
                    <a:pt x="196" y="34"/>
                  </a:cubicBezTo>
                  <a:cubicBezTo>
                    <a:pt x="189" y="45"/>
                    <a:pt x="133" y="159"/>
                    <a:pt x="103" y="220"/>
                  </a:cubicBezTo>
                  <a:cubicBezTo>
                    <a:pt x="102" y="210"/>
                    <a:pt x="101" y="201"/>
                    <a:pt x="100" y="196"/>
                  </a:cubicBezTo>
                  <a:cubicBezTo>
                    <a:pt x="95" y="161"/>
                    <a:pt x="75" y="143"/>
                    <a:pt x="48" y="145"/>
                  </a:cubicBezTo>
                  <a:cubicBezTo>
                    <a:pt x="19" y="149"/>
                    <a:pt x="1" y="166"/>
                    <a:pt x="0" y="193"/>
                  </a:cubicBezTo>
                  <a:cubicBezTo>
                    <a:pt x="0" y="204"/>
                    <a:pt x="2" y="302"/>
                    <a:pt x="5" y="393"/>
                  </a:cubicBezTo>
                  <a:cubicBezTo>
                    <a:pt x="6" y="413"/>
                    <a:pt x="6" y="428"/>
                    <a:pt x="6" y="432"/>
                  </a:cubicBezTo>
                  <a:cubicBezTo>
                    <a:pt x="7" y="449"/>
                    <a:pt x="13" y="493"/>
                    <a:pt x="60" y="515"/>
                  </a:cubicBezTo>
                  <a:cubicBezTo>
                    <a:pt x="80" y="525"/>
                    <a:pt x="101" y="535"/>
                    <a:pt x="120" y="544"/>
                  </a:cubicBezTo>
                  <a:cubicBezTo>
                    <a:pt x="141" y="555"/>
                    <a:pt x="159" y="564"/>
                    <a:pt x="170" y="568"/>
                  </a:cubicBezTo>
                  <a:cubicBezTo>
                    <a:pt x="178" y="572"/>
                    <a:pt x="188" y="574"/>
                    <a:pt x="199" y="574"/>
                  </a:cubicBezTo>
                  <a:cubicBezTo>
                    <a:pt x="228" y="574"/>
                    <a:pt x="263" y="561"/>
                    <a:pt x="278" y="533"/>
                  </a:cubicBezTo>
                  <a:cubicBezTo>
                    <a:pt x="302" y="488"/>
                    <a:pt x="379" y="342"/>
                    <a:pt x="386" y="327"/>
                  </a:cubicBezTo>
                  <a:cubicBezTo>
                    <a:pt x="392" y="316"/>
                    <a:pt x="392" y="301"/>
                    <a:pt x="388" y="288"/>
                  </a:cubicBezTo>
                  <a:cubicBezTo>
                    <a:pt x="384" y="276"/>
                    <a:pt x="376" y="267"/>
                    <a:pt x="366" y="262"/>
                  </a:cubicBezTo>
                  <a:close/>
                  <a:moveTo>
                    <a:pt x="365" y="316"/>
                  </a:moveTo>
                  <a:cubicBezTo>
                    <a:pt x="357" y="330"/>
                    <a:pt x="281" y="477"/>
                    <a:pt x="256" y="522"/>
                  </a:cubicBezTo>
                  <a:cubicBezTo>
                    <a:pt x="242" y="547"/>
                    <a:pt x="199" y="555"/>
                    <a:pt x="179" y="546"/>
                  </a:cubicBezTo>
                  <a:cubicBezTo>
                    <a:pt x="169" y="541"/>
                    <a:pt x="152" y="533"/>
                    <a:pt x="131" y="523"/>
                  </a:cubicBezTo>
                  <a:cubicBezTo>
                    <a:pt x="112" y="513"/>
                    <a:pt x="91" y="503"/>
                    <a:pt x="70" y="493"/>
                  </a:cubicBezTo>
                  <a:cubicBezTo>
                    <a:pt x="37" y="477"/>
                    <a:pt x="31" y="447"/>
                    <a:pt x="31" y="431"/>
                  </a:cubicBezTo>
                  <a:cubicBezTo>
                    <a:pt x="31" y="428"/>
                    <a:pt x="30" y="413"/>
                    <a:pt x="30" y="392"/>
                  </a:cubicBezTo>
                  <a:cubicBezTo>
                    <a:pt x="28" y="331"/>
                    <a:pt x="24" y="205"/>
                    <a:pt x="24" y="194"/>
                  </a:cubicBezTo>
                  <a:cubicBezTo>
                    <a:pt x="25" y="180"/>
                    <a:pt x="34" y="171"/>
                    <a:pt x="50" y="170"/>
                  </a:cubicBezTo>
                  <a:cubicBezTo>
                    <a:pt x="51" y="170"/>
                    <a:pt x="52" y="170"/>
                    <a:pt x="53" y="170"/>
                  </a:cubicBezTo>
                  <a:cubicBezTo>
                    <a:pt x="65" y="170"/>
                    <a:pt x="73" y="180"/>
                    <a:pt x="76" y="199"/>
                  </a:cubicBezTo>
                  <a:cubicBezTo>
                    <a:pt x="79" y="214"/>
                    <a:pt x="83" y="264"/>
                    <a:pt x="83" y="265"/>
                  </a:cubicBezTo>
                  <a:cubicBezTo>
                    <a:pt x="84" y="270"/>
                    <a:pt x="88" y="274"/>
                    <a:pt x="93" y="275"/>
                  </a:cubicBezTo>
                  <a:cubicBezTo>
                    <a:pt x="99" y="276"/>
                    <a:pt x="104" y="274"/>
                    <a:pt x="106" y="269"/>
                  </a:cubicBezTo>
                  <a:cubicBezTo>
                    <a:pt x="142" y="197"/>
                    <a:pt x="210" y="58"/>
                    <a:pt x="217" y="46"/>
                  </a:cubicBezTo>
                  <a:cubicBezTo>
                    <a:pt x="222" y="36"/>
                    <a:pt x="234" y="28"/>
                    <a:pt x="245" y="32"/>
                  </a:cubicBezTo>
                  <a:cubicBezTo>
                    <a:pt x="251" y="35"/>
                    <a:pt x="257" y="41"/>
                    <a:pt x="259" y="47"/>
                  </a:cubicBezTo>
                  <a:cubicBezTo>
                    <a:pt x="261" y="51"/>
                    <a:pt x="262" y="57"/>
                    <a:pt x="259" y="63"/>
                  </a:cubicBezTo>
                  <a:cubicBezTo>
                    <a:pt x="250" y="81"/>
                    <a:pt x="168" y="247"/>
                    <a:pt x="168" y="247"/>
                  </a:cubicBezTo>
                  <a:cubicBezTo>
                    <a:pt x="190" y="258"/>
                    <a:pt x="190" y="258"/>
                    <a:pt x="190" y="258"/>
                  </a:cubicBezTo>
                  <a:cubicBezTo>
                    <a:pt x="190" y="258"/>
                    <a:pt x="205" y="229"/>
                    <a:pt x="222" y="194"/>
                  </a:cubicBezTo>
                  <a:cubicBezTo>
                    <a:pt x="222" y="194"/>
                    <a:pt x="222" y="193"/>
                    <a:pt x="222" y="193"/>
                  </a:cubicBezTo>
                  <a:cubicBezTo>
                    <a:pt x="225" y="187"/>
                    <a:pt x="231" y="181"/>
                    <a:pt x="238" y="179"/>
                  </a:cubicBezTo>
                  <a:cubicBezTo>
                    <a:pt x="243" y="178"/>
                    <a:pt x="248" y="179"/>
                    <a:pt x="254" y="182"/>
                  </a:cubicBezTo>
                  <a:cubicBezTo>
                    <a:pt x="272" y="194"/>
                    <a:pt x="261" y="218"/>
                    <a:pt x="261" y="218"/>
                  </a:cubicBezTo>
                  <a:cubicBezTo>
                    <a:pt x="256" y="226"/>
                    <a:pt x="225" y="289"/>
                    <a:pt x="225" y="289"/>
                  </a:cubicBezTo>
                  <a:cubicBezTo>
                    <a:pt x="246" y="300"/>
                    <a:pt x="246" y="300"/>
                    <a:pt x="246" y="300"/>
                  </a:cubicBezTo>
                  <a:cubicBezTo>
                    <a:pt x="246" y="300"/>
                    <a:pt x="271" y="251"/>
                    <a:pt x="280" y="234"/>
                  </a:cubicBezTo>
                  <a:cubicBezTo>
                    <a:pt x="282" y="232"/>
                    <a:pt x="294" y="221"/>
                    <a:pt x="306" y="228"/>
                  </a:cubicBezTo>
                  <a:cubicBezTo>
                    <a:pt x="323" y="237"/>
                    <a:pt x="318" y="252"/>
                    <a:pt x="318" y="254"/>
                  </a:cubicBezTo>
                  <a:cubicBezTo>
                    <a:pt x="316" y="260"/>
                    <a:pt x="310" y="273"/>
                    <a:pt x="309" y="275"/>
                  </a:cubicBezTo>
                  <a:cubicBezTo>
                    <a:pt x="309" y="276"/>
                    <a:pt x="309" y="276"/>
                    <a:pt x="309" y="276"/>
                  </a:cubicBezTo>
                  <a:cubicBezTo>
                    <a:pt x="302" y="287"/>
                    <a:pt x="283" y="325"/>
                    <a:pt x="282" y="327"/>
                  </a:cubicBezTo>
                  <a:cubicBezTo>
                    <a:pt x="279" y="333"/>
                    <a:pt x="282" y="340"/>
                    <a:pt x="288" y="343"/>
                  </a:cubicBezTo>
                  <a:cubicBezTo>
                    <a:pt x="294" y="346"/>
                    <a:pt x="301" y="343"/>
                    <a:pt x="304" y="337"/>
                  </a:cubicBezTo>
                  <a:cubicBezTo>
                    <a:pt x="304" y="337"/>
                    <a:pt x="324" y="298"/>
                    <a:pt x="330" y="288"/>
                  </a:cubicBezTo>
                  <a:cubicBezTo>
                    <a:pt x="333" y="283"/>
                    <a:pt x="343" y="278"/>
                    <a:pt x="356" y="284"/>
                  </a:cubicBezTo>
                  <a:cubicBezTo>
                    <a:pt x="361" y="286"/>
                    <a:pt x="364" y="292"/>
                    <a:pt x="365" y="295"/>
                  </a:cubicBezTo>
                  <a:cubicBezTo>
                    <a:pt x="368" y="303"/>
                    <a:pt x="367" y="312"/>
                    <a:pt x="365" y="316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US" sz="1400">
                <a:solidFill>
                  <a:srgbClr val="000000"/>
                </a:solidFill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569F941A-B500-4D79-8E88-22F95B2CEA89}"/>
                </a:ext>
              </a:extLst>
            </p:cNvPr>
            <p:cNvGrpSpPr/>
            <p:nvPr/>
          </p:nvGrpSpPr>
          <p:grpSpPr>
            <a:xfrm>
              <a:off x="6775037" y="2162584"/>
              <a:ext cx="404744" cy="344872"/>
              <a:chOff x="7273142" y="1875941"/>
              <a:chExt cx="1225952" cy="1044602"/>
            </a:xfrm>
          </p:grpSpPr>
          <p:sp>
            <p:nvSpPr>
              <p:cNvPr id="53" name="Rectangle 10">
                <a:extLst>
                  <a:ext uri="{FF2B5EF4-FFF2-40B4-BE49-F238E27FC236}">
                    <a16:creationId xmlns:a16="http://schemas.microsoft.com/office/drawing/2014/main" id="{ED50C85A-287B-426B-B496-970B1E4628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32733" y="2036569"/>
                <a:ext cx="906769" cy="480849"/>
              </a:xfrm>
              <a:prstGeom prst="rect">
                <a:avLst/>
              </a:prstGeom>
              <a:solidFill>
                <a:srgbClr val="F9AFA1"/>
              </a:solidFill>
              <a:ln w="9525">
                <a:solidFill>
                  <a:srgbClr val="F9AFA1"/>
                </a:solidFill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>
                <a:extLst>
                  <a:ext uri="{FF2B5EF4-FFF2-40B4-BE49-F238E27FC236}">
                    <a16:creationId xmlns:a16="http://schemas.microsoft.com/office/drawing/2014/main" id="{B0213B4B-F917-4324-94DA-1ADE9B8359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78860" y="2678046"/>
                <a:ext cx="216588" cy="190681"/>
              </a:xfrm>
              <a:prstGeom prst="rect">
                <a:avLst/>
              </a:prstGeom>
              <a:solidFill>
                <a:srgbClr val="F9AFA1"/>
              </a:solidFill>
              <a:ln w="9525">
                <a:solidFill>
                  <a:srgbClr val="F9AFA1"/>
                </a:solidFill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12">
                <a:extLst>
                  <a:ext uri="{FF2B5EF4-FFF2-40B4-BE49-F238E27FC236}">
                    <a16:creationId xmlns:a16="http://schemas.microsoft.com/office/drawing/2014/main" id="{2C965A91-D8CE-4256-996D-C4A0647545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27030" y="1929829"/>
                <a:ext cx="1120249" cy="696401"/>
              </a:xfrm>
              <a:custGeom>
                <a:avLst/>
                <a:gdLst>
                  <a:gd name="T0" fmla="*/ 0 w 518"/>
                  <a:gd name="T1" fmla="*/ 321 h 321"/>
                  <a:gd name="T2" fmla="*/ 518 w 518"/>
                  <a:gd name="T3" fmla="*/ 321 h 321"/>
                  <a:gd name="T4" fmla="*/ 518 w 518"/>
                  <a:gd name="T5" fmla="*/ 0 h 321"/>
                  <a:gd name="T6" fmla="*/ 0 w 518"/>
                  <a:gd name="T7" fmla="*/ 0 h 321"/>
                  <a:gd name="T8" fmla="*/ 0 w 518"/>
                  <a:gd name="T9" fmla="*/ 321 h 321"/>
                  <a:gd name="T10" fmla="*/ 25 w 518"/>
                  <a:gd name="T11" fmla="*/ 37 h 321"/>
                  <a:gd name="T12" fmla="*/ 37 w 518"/>
                  <a:gd name="T13" fmla="*/ 25 h 321"/>
                  <a:gd name="T14" fmla="*/ 481 w 518"/>
                  <a:gd name="T15" fmla="*/ 25 h 321"/>
                  <a:gd name="T16" fmla="*/ 493 w 518"/>
                  <a:gd name="T17" fmla="*/ 37 h 321"/>
                  <a:gd name="T18" fmla="*/ 493 w 518"/>
                  <a:gd name="T19" fmla="*/ 284 h 321"/>
                  <a:gd name="T20" fmla="*/ 481 w 518"/>
                  <a:gd name="T21" fmla="*/ 296 h 321"/>
                  <a:gd name="T22" fmla="*/ 37 w 518"/>
                  <a:gd name="T23" fmla="*/ 296 h 321"/>
                  <a:gd name="T24" fmla="*/ 25 w 518"/>
                  <a:gd name="T25" fmla="*/ 284 h 321"/>
                  <a:gd name="T26" fmla="*/ 25 w 518"/>
                  <a:gd name="T27" fmla="*/ 3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8" h="321">
                    <a:moveTo>
                      <a:pt x="0" y="321"/>
                    </a:moveTo>
                    <a:cubicBezTo>
                      <a:pt x="518" y="321"/>
                      <a:pt x="518" y="321"/>
                      <a:pt x="518" y="321"/>
                    </a:cubicBezTo>
                    <a:cubicBezTo>
                      <a:pt x="518" y="0"/>
                      <a:pt x="518" y="0"/>
                      <a:pt x="518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21"/>
                    </a:lnTo>
                    <a:close/>
                    <a:moveTo>
                      <a:pt x="25" y="37"/>
                    </a:moveTo>
                    <a:cubicBezTo>
                      <a:pt x="25" y="30"/>
                      <a:pt x="30" y="25"/>
                      <a:pt x="37" y="25"/>
                    </a:cubicBezTo>
                    <a:cubicBezTo>
                      <a:pt x="481" y="25"/>
                      <a:pt x="481" y="25"/>
                      <a:pt x="481" y="25"/>
                    </a:cubicBezTo>
                    <a:cubicBezTo>
                      <a:pt x="488" y="25"/>
                      <a:pt x="493" y="30"/>
                      <a:pt x="493" y="37"/>
                    </a:cubicBezTo>
                    <a:cubicBezTo>
                      <a:pt x="493" y="284"/>
                      <a:pt x="493" y="284"/>
                      <a:pt x="493" y="284"/>
                    </a:cubicBezTo>
                    <a:cubicBezTo>
                      <a:pt x="493" y="290"/>
                      <a:pt x="488" y="296"/>
                      <a:pt x="481" y="296"/>
                    </a:cubicBezTo>
                    <a:cubicBezTo>
                      <a:pt x="37" y="296"/>
                      <a:pt x="37" y="296"/>
                      <a:pt x="37" y="296"/>
                    </a:cubicBezTo>
                    <a:cubicBezTo>
                      <a:pt x="30" y="296"/>
                      <a:pt x="25" y="290"/>
                      <a:pt x="25" y="284"/>
                    </a:cubicBezTo>
                    <a:lnTo>
                      <a:pt x="25" y="37"/>
                    </a:lnTo>
                    <a:close/>
                  </a:path>
                </a:pathLst>
              </a:custGeom>
              <a:solidFill>
                <a:srgbClr val="F9AFA1"/>
              </a:solidFill>
              <a:ln w="9525">
                <a:solidFill>
                  <a:srgbClr val="F9AFA1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Freeform 13">
                <a:extLst>
                  <a:ext uri="{FF2B5EF4-FFF2-40B4-BE49-F238E27FC236}">
                    <a16:creationId xmlns:a16="http://schemas.microsoft.com/office/drawing/2014/main" id="{0234D513-303C-423B-B561-9A59768779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73142" y="1875941"/>
                <a:ext cx="1225952" cy="1044602"/>
              </a:xfrm>
              <a:custGeom>
                <a:avLst/>
                <a:gdLst>
                  <a:gd name="T0" fmla="*/ 555 w 567"/>
                  <a:gd name="T1" fmla="*/ 0 h 482"/>
                  <a:gd name="T2" fmla="*/ 13 w 567"/>
                  <a:gd name="T3" fmla="*/ 0 h 482"/>
                  <a:gd name="T4" fmla="*/ 0 w 567"/>
                  <a:gd name="T5" fmla="*/ 13 h 482"/>
                  <a:gd name="T6" fmla="*/ 0 w 567"/>
                  <a:gd name="T7" fmla="*/ 358 h 482"/>
                  <a:gd name="T8" fmla="*/ 13 w 567"/>
                  <a:gd name="T9" fmla="*/ 370 h 482"/>
                  <a:gd name="T10" fmla="*/ 209 w 567"/>
                  <a:gd name="T11" fmla="*/ 370 h 482"/>
                  <a:gd name="T12" fmla="*/ 209 w 567"/>
                  <a:gd name="T13" fmla="*/ 458 h 482"/>
                  <a:gd name="T14" fmla="*/ 193 w 567"/>
                  <a:gd name="T15" fmla="*/ 458 h 482"/>
                  <a:gd name="T16" fmla="*/ 181 w 567"/>
                  <a:gd name="T17" fmla="*/ 470 h 482"/>
                  <a:gd name="T18" fmla="*/ 193 w 567"/>
                  <a:gd name="T19" fmla="*/ 482 h 482"/>
                  <a:gd name="T20" fmla="*/ 375 w 567"/>
                  <a:gd name="T21" fmla="*/ 482 h 482"/>
                  <a:gd name="T22" fmla="*/ 387 w 567"/>
                  <a:gd name="T23" fmla="*/ 470 h 482"/>
                  <a:gd name="T24" fmla="*/ 375 w 567"/>
                  <a:gd name="T25" fmla="*/ 458 h 482"/>
                  <a:gd name="T26" fmla="*/ 359 w 567"/>
                  <a:gd name="T27" fmla="*/ 458 h 482"/>
                  <a:gd name="T28" fmla="*/ 359 w 567"/>
                  <a:gd name="T29" fmla="*/ 370 h 482"/>
                  <a:gd name="T30" fmla="*/ 555 w 567"/>
                  <a:gd name="T31" fmla="*/ 370 h 482"/>
                  <a:gd name="T32" fmla="*/ 567 w 567"/>
                  <a:gd name="T33" fmla="*/ 358 h 482"/>
                  <a:gd name="T34" fmla="*/ 567 w 567"/>
                  <a:gd name="T35" fmla="*/ 13 h 482"/>
                  <a:gd name="T36" fmla="*/ 555 w 567"/>
                  <a:gd name="T37" fmla="*/ 0 h 482"/>
                  <a:gd name="T38" fmla="*/ 334 w 567"/>
                  <a:gd name="T39" fmla="*/ 458 h 482"/>
                  <a:gd name="T40" fmla="*/ 234 w 567"/>
                  <a:gd name="T41" fmla="*/ 458 h 482"/>
                  <a:gd name="T42" fmla="*/ 234 w 567"/>
                  <a:gd name="T43" fmla="*/ 370 h 482"/>
                  <a:gd name="T44" fmla="*/ 334 w 567"/>
                  <a:gd name="T45" fmla="*/ 370 h 482"/>
                  <a:gd name="T46" fmla="*/ 334 w 567"/>
                  <a:gd name="T47" fmla="*/ 458 h 482"/>
                  <a:gd name="T48" fmla="*/ 543 w 567"/>
                  <a:gd name="T49" fmla="*/ 346 h 482"/>
                  <a:gd name="T50" fmla="*/ 25 w 567"/>
                  <a:gd name="T51" fmla="*/ 346 h 482"/>
                  <a:gd name="T52" fmla="*/ 25 w 567"/>
                  <a:gd name="T53" fmla="*/ 25 h 482"/>
                  <a:gd name="T54" fmla="*/ 543 w 567"/>
                  <a:gd name="T55" fmla="*/ 25 h 482"/>
                  <a:gd name="T56" fmla="*/ 543 w 567"/>
                  <a:gd name="T57" fmla="*/ 346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67" h="482">
                    <a:moveTo>
                      <a:pt x="555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358"/>
                      <a:pt x="0" y="358"/>
                      <a:pt x="0" y="358"/>
                    </a:cubicBezTo>
                    <a:cubicBezTo>
                      <a:pt x="0" y="365"/>
                      <a:pt x="6" y="370"/>
                      <a:pt x="13" y="370"/>
                    </a:cubicBezTo>
                    <a:cubicBezTo>
                      <a:pt x="209" y="370"/>
                      <a:pt x="209" y="370"/>
                      <a:pt x="209" y="370"/>
                    </a:cubicBezTo>
                    <a:cubicBezTo>
                      <a:pt x="209" y="458"/>
                      <a:pt x="209" y="458"/>
                      <a:pt x="209" y="458"/>
                    </a:cubicBezTo>
                    <a:cubicBezTo>
                      <a:pt x="193" y="458"/>
                      <a:pt x="193" y="458"/>
                      <a:pt x="193" y="458"/>
                    </a:cubicBezTo>
                    <a:cubicBezTo>
                      <a:pt x="186" y="458"/>
                      <a:pt x="181" y="463"/>
                      <a:pt x="181" y="470"/>
                    </a:cubicBezTo>
                    <a:cubicBezTo>
                      <a:pt x="181" y="477"/>
                      <a:pt x="186" y="482"/>
                      <a:pt x="193" y="482"/>
                    </a:cubicBezTo>
                    <a:cubicBezTo>
                      <a:pt x="375" y="482"/>
                      <a:pt x="375" y="482"/>
                      <a:pt x="375" y="482"/>
                    </a:cubicBezTo>
                    <a:cubicBezTo>
                      <a:pt x="382" y="482"/>
                      <a:pt x="387" y="477"/>
                      <a:pt x="387" y="470"/>
                    </a:cubicBezTo>
                    <a:cubicBezTo>
                      <a:pt x="387" y="463"/>
                      <a:pt x="382" y="458"/>
                      <a:pt x="375" y="458"/>
                    </a:cubicBezTo>
                    <a:cubicBezTo>
                      <a:pt x="359" y="458"/>
                      <a:pt x="359" y="458"/>
                      <a:pt x="359" y="458"/>
                    </a:cubicBezTo>
                    <a:cubicBezTo>
                      <a:pt x="359" y="370"/>
                      <a:pt x="359" y="370"/>
                      <a:pt x="359" y="370"/>
                    </a:cubicBezTo>
                    <a:cubicBezTo>
                      <a:pt x="555" y="370"/>
                      <a:pt x="555" y="370"/>
                      <a:pt x="555" y="370"/>
                    </a:cubicBezTo>
                    <a:cubicBezTo>
                      <a:pt x="562" y="370"/>
                      <a:pt x="567" y="365"/>
                      <a:pt x="567" y="358"/>
                    </a:cubicBezTo>
                    <a:cubicBezTo>
                      <a:pt x="567" y="13"/>
                      <a:pt x="567" y="13"/>
                      <a:pt x="567" y="13"/>
                    </a:cubicBezTo>
                    <a:cubicBezTo>
                      <a:pt x="567" y="6"/>
                      <a:pt x="562" y="0"/>
                      <a:pt x="555" y="0"/>
                    </a:cubicBezTo>
                    <a:close/>
                    <a:moveTo>
                      <a:pt x="334" y="458"/>
                    </a:moveTo>
                    <a:cubicBezTo>
                      <a:pt x="234" y="458"/>
                      <a:pt x="234" y="458"/>
                      <a:pt x="234" y="458"/>
                    </a:cubicBezTo>
                    <a:cubicBezTo>
                      <a:pt x="234" y="370"/>
                      <a:pt x="234" y="370"/>
                      <a:pt x="234" y="370"/>
                    </a:cubicBezTo>
                    <a:cubicBezTo>
                      <a:pt x="334" y="370"/>
                      <a:pt x="334" y="370"/>
                      <a:pt x="334" y="370"/>
                    </a:cubicBezTo>
                    <a:lnTo>
                      <a:pt x="334" y="458"/>
                    </a:lnTo>
                    <a:close/>
                    <a:moveTo>
                      <a:pt x="543" y="346"/>
                    </a:moveTo>
                    <a:cubicBezTo>
                      <a:pt x="25" y="346"/>
                      <a:pt x="25" y="346"/>
                      <a:pt x="25" y="346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543" y="25"/>
                      <a:pt x="543" y="25"/>
                      <a:pt x="543" y="25"/>
                    </a:cubicBezTo>
                    <a:lnTo>
                      <a:pt x="543" y="346"/>
                    </a:lnTo>
                    <a:close/>
                  </a:path>
                </a:pathLst>
              </a:custGeom>
              <a:solidFill>
                <a:srgbClr val="F9AFA1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Freeform 14">
                <a:extLst>
                  <a:ext uri="{FF2B5EF4-FFF2-40B4-BE49-F238E27FC236}">
                    <a16:creationId xmlns:a16="http://schemas.microsoft.com/office/drawing/2014/main" id="{96E3FB09-1334-4346-96C2-D1E89F3728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73142" y="1875941"/>
                <a:ext cx="1225952" cy="1044602"/>
              </a:xfrm>
              <a:custGeom>
                <a:avLst/>
                <a:gdLst>
                  <a:gd name="T0" fmla="*/ 555 w 567"/>
                  <a:gd name="T1" fmla="*/ 0 h 482"/>
                  <a:gd name="T2" fmla="*/ 13 w 567"/>
                  <a:gd name="T3" fmla="*/ 0 h 482"/>
                  <a:gd name="T4" fmla="*/ 0 w 567"/>
                  <a:gd name="T5" fmla="*/ 13 h 482"/>
                  <a:gd name="T6" fmla="*/ 0 w 567"/>
                  <a:gd name="T7" fmla="*/ 358 h 482"/>
                  <a:gd name="T8" fmla="*/ 13 w 567"/>
                  <a:gd name="T9" fmla="*/ 370 h 482"/>
                  <a:gd name="T10" fmla="*/ 209 w 567"/>
                  <a:gd name="T11" fmla="*/ 370 h 482"/>
                  <a:gd name="T12" fmla="*/ 209 w 567"/>
                  <a:gd name="T13" fmla="*/ 458 h 482"/>
                  <a:gd name="T14" fmla="*/ 193 w 567"/>
                  <a:gd name="T15" fmla="*/ 458 h 482"/>
                  <a:gd name="T16" fmla="*/ 181 w 567"/>
                  <a:gd name="T17" fmla="*/ 470 h 482"/>
                  <a:gd name="T18" fmla="*/ 193 w 567"/>
                  <a:gd name="T19" fmla="*/ 482 h 482"/>
                  <a:gd name="T20" fmla="*/ 375 w 567"/>
                  <a:gd name="T21" fmla="*/ 482 h 482"/>
                  <a:gd name="T22" fmla="*/ 387 w 567"/>
                  <a:gd name="T23" fmla="*/ 470 h 482"/>
                  <a:gd name="T24" fmla="*/ 375 w 567"/>
                  <a:gd name="T25" fmla="*/ 458 h 482"/>
                  <a:gd name="T26" fmla="*/ 359 w 567"/>
                  <a:gd name="T27" fmla="*/ 458 h 482"/>
                  <a:gd name="T28" fmla="*/ 359 w 567"/>
                  <a:gd name="T29" fmla="*/ 370 h 482"/>
                  <a:gd name="T30" fmla="*/ 555 w 567"/>
                  <a:gd name="T31" fmla="*/ 370 h 482"/>
                  <a:gd name="T32" fmla="*/ 567 w 567"/>
                  <a:gd name="T33" fmla="*/ 358 h 482"/>
                  <a:gd name="T34" fmla="*/ 567 w 567"/>
                  <a:gd name="T35" fmla="*/ 13 h 482"/>
                  <a:gd name="T36" fmla="*/ 555 w 567"/>
                  <a:gd name="T37" fmla="*/ 0 h 482"/>
                  <a:gd name="T38" fmla="*/ 334 w 567"/>
                  <a:gd name="T39" fmla="*/ 458 h 482"/>
                  <a:gd name="T40" fmla="*/ 234 w 567"/>
                  <a:gd name="T41" fmla="*/ 458 h 482"/>
                  <a:gd name="T42" fmla="*/ 234 w 567"/>
                  <a:gd name="T43" fmla="*/ 370 h 482"/>
                  <a:gd name="T44" fmla="*/ 334 w 567"/>
                  <a:gd name="T45" fmla="*/ 370 h 482"/>
                  <a:gd name="T46" fmla="*/ 334 w 567"/>
                  <a:gd name="T47" fmla="*/ 458 h 482"/>
                  <a:gd name="T48" fmla="*/ 543 w 567"/>
                  <a:gd name="T49" fmla="*/ 346 h 482"/>
                  <a:gd name="T50" fmla="*/ 25 w 567"/>
                  <a:gd name="T51" fmla="*/ 346 h 482"/>
                  <a:gd name="T52" fmla="*/ 25 w 567"/>
                  <a:gd name="T53" fmla="*/ 25 h 482"/>
                  <a:gd name="T54" fmla="*/ 543 w 567"/>
                  <a:gd name="T55" fmla="*/ 25 h 482"/>
                  <a:gd name="T56" fmla="*/ 543 w 567"/>
                  <a:gd name="T57" fmla="*/ 346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67" h="482">
                    <a:moveTo>
                      <a:pt x="555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358"/>
                      <a:pt x="0" y="358"/>
                      <a:pt x="0" y="358"/>
                    </a:cubicBezTo>
                    <a:cubicBezTo>
                      <a:pt x="0" y="365"/>
                      <a:pt x="6" y="370"/>
                      <a:pt x="13" y="370"/>
                    </a:cubicBezTo>
                    <a:cubicBezTo>
                      <a:pt x="209" y="370"/>
                      <a:pt x="209" y="370"/>
                      <a:pt x="209" y="370"/>
                    </a:cubicBezTo>
                    <a:cubicBezTo>
                      <a:pt x="209" y="458"/>
                      <a:pt x="209" y="458"/>
                      <a:pt x="209" y="458"/>
                    </a:cubicBezTo>
                    <a:cubicBezTo>
                      <a:pt x="193" y="458"/>
                      <a:pt x="193" y="458"/>
                      <a:pt x="193" y="458"/>
                    </a:cubicBezTo>
                    <a:cubicBezTo>
                      <a:pt x="186" y="458"/>
                      <a:pt x="181" y="463"/>
                      <a:pt x="181" y="470"/>
                    </a:cubicBezTo>
                    <a:cubicBezTo>
                      <a:pt x="181" y="477"/>
                      <a:pt x="186" y="482"/>
                      <a:pt x="193" y="482"/>
                    </a:cubicBezTo>
                    <a:cubicBezTo>
                      <a:pt x="375" y="482"/>
                      <a:pt x="375" y="482"/>
                      <a:pt x="375" y="482"/>
                    </a:cubicBezTo>
                    <a:cubicBezTo>
                      <a:pt x="382" y="482"/>
                      <a:pt x="387" y="477"/>
                      <a:pt x="387" y="470"/>
                    </a:cubicBezTo>
                    <a:cubicBezTo>
                      <a:pt x="387" y="463"/>
                      <a:pt x="382" y="458"/>
                      <a:pt x="375" y="458"/>
                    </a:cubicBezTo>
                    <a:cubicBezTo>
                      <a:pt x="359" y="458"/>
                      <a:pt x="359" y="458"/>
                      <a:pt x="359" y="458"/>
                    </a:cubicBezTo>
                    <a:cubicBezTo>
                      <a:pt x="359" y="370"/>
                      <a:pt x="359" y="370"/>
                      <a:pt x="359" y="370"/>
                    </a:cubicBezTo>
                    <a:cubicBezTo>
                      <a:pt x="555" y="370"/>
                      <a:pt x="555" y="370"/>
                      <a:pt x="555" y="370"/>
                    </a:cubicBezTo>
                    <a:cubicBezTo>
                      <a:pt x="562" y="370"/>
                      <a:pt x="567" y="365"/>
                      <a:pt x="567" y="358"/>
                    </a:cubicBezTo>
                    <a:cubicBezTo>
                      <a:pt x="567" y="13"/>
                      <a:pt x="567" y="13"/>
                      <a:pt x="567" y="13"/>
                    </a:cubicBezTo>
                    <a:cubicBezTo>
                      <a:pt x="567" y="6"/>
                      <a:pt x="562" y="0"/>
                      <a:pt x="555" y="0"/>
                    </a:cubicBezTo>
                    <a:close/>
                    <a:moveTo>
                      <a:pt x="334" y="458"/>
                    </a:moveTo>
                    <a:cubicBezTo>
                      <a:pt x="234" y="458"/>
                      <a:pt x="234" y="458"/>
                      <a:pt x="234" y="458"/>
                    </a:cubicBezTo>
                    <a:cubicBezTo>
                      <a:pt x="234" y="370"/>
                      <a:pt x="234" y="370"/>
                      <a:pt x="234" y="370"/>
                    </a:cubicBezTo>
                    <a:cubicBezTo>
                      <a:pt x="334" y="370"/>
                      <a:pt x="334" y="370"/>
                      <a:pt x="334" y="370"/>
                    </a:cubicBezTo>
                    <a:lnTo>
                      <a:pt x="334" y="458"/>
                    </a:lnTo>
                    <a:close/>
                    <a:moveTo>
                      <a:pt x="543" y="346"/>
                    </a:moveTo>
                    <a:cubicBezTo>
                      <a:pt x="25" y="346"/>
                      <a:pt x="25" y="346"/>
                      <a:pt x="25" y="346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543" y="25"/>
                      <a:pt x="543" y="25"/>
                      <a:pt x="543" y="25"/>
                    </a:cubicBezTo>
                    <a:lnTo>
                      <a:pt x="543" y="346"/>
                    </a:lnTo>
                    <a:close/>
                  </a:path>
                </a:pathLst>
              </a:custGeom>
              <a:solidFill>
                <a:srgbClr val="F2F2F2"/>
              </a:solidFill>
              <a:ln w="9525">
                <a:solidFill>
                  <a:srgbClr val="F9AFA1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Freeform 15">
                <a:extLst>
                  <a:ext uri="{FF2B5EF4-FFF2-40B4-BE49-F238E27FC236}">
                    <a16:creationId xmlns:a16="http://schemas.microsoft.com/office/drawing/2014/main" id="{58996AE1-9B76-449D-8A34-339AB4B590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80918" y="1984754"/>
                <a:ext cx="1012473" cy="586552"/>
              </a:xfrm>
              <a:custGeom>
                <a:avLst/>
                <a:gdLst>
                  <a:gd name="T0" fmla="*/ 12 w 468"/>
                  <a:gd name="T1" fmla="*/ 271 h 271"/>
                  <a:gd name="T2" fmla="*/ 456 w 468"/>
                  <a:gd name="T3" fmla="*/ 271 h 271"/>
                  <a:gd name="T4" fmla="*/ 468 w 468"/>
                  <a:gd name="T5" fmla="*/ 259 h 271"/>
                  <a:gd name="T6" fmla="*/ 468 w 468"/>
                  <a:gd name="T7" fmla="*/ 12 h 271"/>
                  <a:gd name="T8" fmla="*/ 456 w 468"/>
                  <a:gd name="T9" fmla="*/ 0 h 271"/>
                  <a:gd name="T10" fmla="*/ 12 w 468"/>
                  <a:gd name="T11" fmla="*/ 0 h 271"/>
                  <a:gd name="T12" fmla="*/ 0 w 468"/>
                  <a:gd name="T13" fmla="*/ 12 h 271"/>
                  <a:gd name="T14" fmla="*/ 0 w 468"/>
                  <a:gd name="T15" fmla="*/ 259 h 271"/>
                  <a:gd name="T16" fmla="*/ 12 w 468"/>
                  <a:gd name="T17" fmla="*/ 271 h 271"/>
                  <a:gd name="T18" fmla="*/ 24 w 468"/>
                  <a:gd name="T19" fmla="*/ 24 h 271"/>
                  <a:gd name="T20" fmla="*/ 443 w 468"/>
                  <a:gd name="T21" fmla="*/ 24 h 271"/>
                  <a:gd name="T22" fmla="*/ 443 w 468"/>
                  <a:gd name="T23" fmla="*/ 246 h 271"/>
                  <a:gd name="T24" fmla="*/ 24 w 468"/>
                  <a:gd name="T25" fmla="*/ 246 h 271"/>
                  <a:gd name="T26" fmla="*/ 24 w 468"/>
                  <a:gd name="T27" fmla="*/ 24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68" h="271">
                    <a:moveTo>
                      <a:pt x="12" y="271"/>
                    </a:moveTo>
                    <a:cubicBezTo>
                      <a:pt x="456" y="271"/>
                      <a:pt x="456" y="271"/>
                      <a:pt x="456" y="271"/>
                    </a:cubicBezTo>
                    <a:cubicBezTo>
                      <a:pt x="463" y="271"/>
                      <a:pt x="468" y="265"/>
                      <a:pt x="468" y="259"/>
                    </a:cubicBezTo>
                    <a:cubicBezTo>
                      <a:pt x="468" y="12"/>
                      <a:pt x="468" y="12"/>
                      <a:pt x="468" y="12"/>
                    </a:cubicBezTo>
                    <a:cubicBezTo>
                      <a:pt x="468" y="5"/>
                      <a:pt x="463" y="0"/>
                      <a:pt x="456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0" y="265"/>
                      <a:pt x="5" y="271"/>
                      <a:pt x="12" y="271"/>
                    </a:cubicBezTo>
                    <a:close/>
                    <a:moveTo>
                      <a:pt x="24" y="24"/>
                    </a:moveTo>
                    <a:cubicBezTo>
                      <a:pt x="443" y="24"/>
                      <a:pt x="443" y="24"/>
                      <a:pt x="443" y="24"/>
                    </a:cubicBezTo>
                    <a:cubicBezTo>
                      <a:pt x="443" y="246"/>
                      <a:pt x="443" y="246"/>
                      <a:pt x="443" y="246"/>
                    </a:cubicBezTo>
                    <a:cubicBezTo>
                      <a:pt x="24" y="246"/>
                      <a:pt x="24" y="246"/>
                      <a:pt x="24" y="246"/>
                    </a:cubicBezTo>
                    <a:lnTo>
                      <a:pt x="24" y="24"/>
                    </a:lnTo>
                    <a:close/>
                  </a:path>
                </a:pathLst>
              </a:custGeom>
              <a:solidFill>
                <a:srgbClr val="F9AFA1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Freeform 16">
                <a:extLst>
                  <a:ext uri="{FF2B5EF4-FFF2-40B4-BE49-F238E27FC236}">
                    <a16:creationId xmlns:a16="http://schemas.microsoft.com/office/drawing/2014/main" id="{0B489778-1C80-41D2-993D-B246980E17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80918" y="1984754"/>
                <a:ext cx="1012473" cy="586552"/>
              </a:xfrm>
              <a:custGeom>
                <a:avLst/>
                <a:gdLst>
                  <a:gd name="T0" fmla="*/ 12 w 468"/>
                  <a:gd name="T1" fmla="*/ 271 h 271"/>
                  <a:gd name="T2" fmla="*/ 456 w 468"/>
                  <a:gd name="T3" fmla="*/ 271 h 271"/>
                  <a:gd name="T4" fmla="*/ 468 w 468"/>
                  <a:gd name="T5" fmla="*/ 259 h 271"/>
                  <a:gd name="T6" fmla="*/ 468 w 468"/>
                  <a:gd name="T7" fmla="*/ 12 h 271"/>
                  <a:gd name="T8" fmla="*/ 456 w 468"/>
                  <a:gd name="T9" fmla="*/ 0 h 271"/>
                  <a:gd name="T10" fmla="*/ 12 w 468"/>
                  <a:gd name="T11" fmla="*/ 0 h 271"/>
                  <a:gd name="T12" fmla="*/ 0 w 468"/>
                  <a:gd name="T13" fmla="*/ 12 h 271"/>
                  <a:gd name="T14" fmla="*/ 0 w 468"/>
                  <a:gd name="T15" fmla="*/ 259 h 271"/>
                  <a:gd name="T16" fmla="*/ 12 w 468"/>
                  <a:gd name="T17" fmla="*/ 271 h 271"/>
                  <a:gd name="T18" fmla="*/ 24 w 468"/>
                  <a:gd name="T19" fmla="*/ 24 h 271"/>
                  <a:gd name="T20" fmla="*/ 443 w 468"/>
                  <a:gd name="T21" fmla="*/ 24 h 271"/>
                  <a:gd name="T22" fmla="*/ 443 w 468"/>
                  <a:gd name="T23" fmla="*/ 246 h 271"/>
                  <a:gd name="T24" fmla="*/ 24 w 468"/>
                  <a:gd name="T25" fmla="*/ 246 h 271"/>
                  <a:gd name="T26" fmla="*/ 24 w 468"/>
                  <a:gd name="T27" fmla="*/ 24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68" h="271">
                    <a:moveTo>
                      <a:pt x="12" y="271"/>
                    </a:moveTo>
                    <a:cubicBezTo>
                      <a:pt x="456" y="271"/>
                      <a:pt x="456" y="271"/>
                      <a:pt x="456" y="271"/>
                    </a:cubicBezTo>
                    <a:cubicBezTo>
                      <a:pt x="463" y="271"/>
                      <a:pt x="468" y="265"/>
                      <a:pt x="468" y="259"/>
                    </a:cubicBezTo>
                    <a:cubicBezTo>
                      <a:pt x="468" y="12"/>
                      <a:pt x="468" y="12"/>
                      <a:pt x="468" y="12"/>
                    </a:cubicBezTo>
                    <a:cubicBezTo>
                      <a:pt x="468" y="5"/>
                      <a:pt x="463" y="0"/>
                      <a:pt x="456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0" y="265"/>
                      <a:pt x="5" y="271"/>
                      <a:pt x="12" y="271"/>
                    </a:cubicBezTo>
                    <a:close/>
                    <a:moveTo>
                      <a:pt x="24" y="24"/>
                    </a:moveTo>
                    <a:cubicBezTo>
                      <a:pt x="443" y="24"/>
                      <a:pt x="443" y="24"/>
                      <a:pt x="443" y="24"/>
                    </a:cubicBezTo>
                    <a:cubicBezTo>
                      <a:pt x="443" y="246"/>
                      <a:pt x="443" y="246"/>
                      <a:pt x="443" y="246"/>
                    </a:cubicBezTo>
                    <a:cubicBezTo>
                      <a:pt x="24" y="246"/>
                      <a:pt x="24" y="246"/>
                      <a:pt x="24" y="246"/>
                    </a:cubicBezTo>
                    <a:lnTo>
                      <a:pt x="24" y="24"/>
                    </a:lnTo>
                    <a:close/>
                  </a:path>
                </a:pathLst>
              </a:custGeom>
              <a:solidFill>
                <a:srgbClr val="F2F2F2"/>
              </a:solidFill>
              <a:ln w="9525">
                <a:solidFill>
                  <a:srgbClr val="F9AFA1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7" name="Group 19">
              <a:extLst>
                <a:ext uri="{FF2B5EF4-FFF2-40B4-BE49-F238E27FC236}">
                  <a16:creationId xmlns:a16="http://schemas.microsoft.com/office/drawing/2014/main" id="{B9C1D7E9-23DC-4002-B56D-90492EBE76B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098559" y="2144383"/>
              <a:ext cx="397366" cy="390984"/>
              <a:chOff x="3195" y="1138"/>
              <a:chExt cx="1183" cy="1164"/>
            </a:xfrm>
            <a:solidFill>
              <a:schemeClr val="accent3"/>
            </a:solidFill>
          </p:grpSpPr>
          <p:sp>
            <p:nvSpPr>
              <p:cNvPr id="69" name="Freeform 20">
                <a:extLst>
                  <a:ext uri="{FF2B5EF4-FFF2-40B4-BE49-F238E27FC236}">
                    <a16:creationId xmlns:a16="http://schemas.microsoft.com/office/drawing/2014/main" id="{D3BEB764-14F9-4A5E-B622-C9AAD59CC4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7" y="1614"/>
                <a:ext cx="96" cy="314"/>
              </a:xfrm>
              <a:custGeom>
                <a:avLst/>
                <a:gdLst>
                  <a:gd name="T0" fmla="*/ 67 w 96"/>
                  <a:gd name="T1" fmla="*/ 15 h 314"/>
                  <a:gd name="T2" fmla="*/ 58 w 96"/>
                  <a:gd name="T3" fmla="*/ 21 h 314"/>
                  <a:gd name="T4" fmla="*/ 42 w 96"/>
                  <a:gd name="T5" fmla="*/ 38 h 314"/>
                  <a:gd name="T6" fmla="*/ 35 w 96"/>
                  <a:gd name="T7" fmla="*/ 46 h 314"/>
                  <a:gd name="T8" fmla="*/ 27 w 96"/>
                  <a:gd name="T9" fmla="*/ 57 h 314"/>
                  <a:gd name="T10" fmla="*/ 23 w 96"/>
                  <a:gd name="T11" fmla="*/ 67 h 314"/>
                  <a:gd name="T12" fmla="*/ 17 w 96"/>
                  <a:gd name="T13" fmla="*/ 78 h 314"/>
                  <a:gd name="T14" fmla="*/ 13 w 96"/>
                  <a:gd name="T15" fmla="*/ 90 h 314"/>
                  <a:gd name="T16" fmla="*/ 8 w 96"/>
                  <a:gd name="T17" fmla="*/ 103 h 314"/>
                  <a:gd name="T18" fmla="*/ 4 w 96"/>
                  <a:gd name="T19" fmla="*/ 117 h 314"/>
                  <a:gd name="T20" fmla="*/ 4 w 96"/>
                  <a:gd name="T21" fmla="*/ 130 h 314"/>
                  <a:gd name="T22" fmla="*/ 0 w 96"/>
                  <a:gd name="T23" fmla="*/ 145 h 314"/>
                  <a:gd name="T24" fmla="*/ 0 w 96"/>
                  <a:gd name="T25" fmla="*/ 172 h 314"/>
                  <a:gd name="T26" fmla="*/ 4 w 96"/>
                  <a:gd name="T27" fmla="*/ 184 h 314"/>
                  <a:gd name="T28" fmla="*/ 4 w 96"/>
                  <a:gd name="T29" fmla="*/ 199 h 314"/>
                  <a:gd name="T30" fmla="*/ 8 w 96"/>
                  <a:gd name="T31" fmla="*/ 211 h 314"/>
                  <a:gd name="T32" fmla="*/ 13 w 96"/>
                  <a:gd name="T33" fmla="*/ 224 h 314"/>
                  <a:gd name="T34" fmla="*/ 17 w 96"/>
                  <a:gd name="T35" fmla="*/ 237 h 314"/>
                  <a:gd name="T36" fmla="*/ 23 w 96"/>
                  <a:gd name="T37" fmla="*/ 247 h 314"/>
                  <a:gd name="T38" fmla="*/ 27 w 96"/>
                  <a:gd name="T39" fmla="*/ 257 h 314"/>
                  <a:gd name="T40" fmla="*/ 35 w 96"/>
                  <a:gd name="T41" fmla="*/ 270 h 314"/>
                  <a:gd name="T42" fmla="*/ 42 w 96"/>
                  <a:gd name="T43" fmla="*/ 278 h 314"/>
                  <a:gd name="T44" fmla="*/ 58 w 96"/>
                  <a:gd name="T45" fmla="*/ 293 h 314"/>
                  <a:gd name="T46" fmla="*/ 67 w 96"/>
                  <a:gd name="T47" fmla="*/ 299 h 314"/>
                  <a:gd name="T48" fmla="*/ 75 w 96"/>
                  <a:gd name="T49" fmla="*/ 306 h 314"/>
                  <a:gd name="T50" fmla="*/ 86 w 96"/>
                  <a:gd name="T51" fmla="*/ 312 h 314"/>
                  <a:gd name="T52" fmla="*/ 96 w 96"/>
                  <a:gd name="T53" fmla="*/ 314 h 314"/>
                  <a:gd name="T54" fmla="*/ 96 w 96"/>
                  <a:gd name="T55" fmla="*/ 0 h 314"/>
                  <a:gd name="T56" fmla="*/ 86 w 96"/>
                  <a:gd name="T57" fmla="*/ 5 h 314"/>
                  <a:gd name="T58" fmla="*/ 67 w 96"/>
                  <a:gd name="T59" fmla="*/ 15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6" h="314">
                    <a:moveTo>
                      <a:pt x="67" y="15"/>
                    </a:moveTo>
                    <a:lnTo>
                      <a:pt x="58" y="21"/>
                    </a:lnTo>
                    <a:lnTo>
                      <a:pt x="42" y="38"/>
                    </a:lnTo>
                    <a:lnTo>
                      <a:pt x="35" y="46"/>
                    </a:lnTo>
                    <a:lnTo>
                      <a:pt x="27" y="57"/>
                    </a:lnTo>
                    <a:lnTo>
                      <a:pt x="23" y="67"/>
                    </a:lnTo>
                    <a:lnTo>
                      <a:pt x="17" y="78"/>
                    </a:lnTo>
                    <a:lnTo>
                      <a:pt x="13" y="90"/>
                    </a:lnTo>
                    <a:lnTo>
                      <a:pt x="8" y="103"/>
                    </a:lnTo>
                    <a:lnTo>
                      <a:pt x="4" y="117"/>
                    </a:lnTo>
                    <a:lnTo>
                      <a:pt x="4" y="130"/>
                    </a:lnTo>
                    <a:lnTo>
                      <a:pt x="0" y="145"/>
                    </a:lnTo>
                    <a:lnTo>
                      <a:pt x="0" y="172"/>
                    </a:lnTo>
                    <a:lnTo>
                      <a:pt x="4" y="184"/>
                    </a:lnTo>
                    <a:lnTo>
                      <a:pt x="4" y="199"/>
                    </a:lnTo>
                    <a:lnTo>
                      <a:pt x="8" y="211"/>
                    </a:lnTo>
                    <a:lnTo>
                      <a:pt x="13" y="224"/>
                    </a:lnTo>
                    <a:lnTo>
                      <a:pt x="17" y="237"/>
                    </a:lnTo>
                    <a:lnTo>
                      <a:pt x="23" y="247"/>
                    </a:lnTo>
                    <a:lnTo>
                      <a:pt x="27" y="257"/>
                    </a:lnTo>
                    <a:lnTo>
                      <a:pt x="35" y="270"/>
                    </a:lnTo>
                    <a:lnTo>
                      <a:pt x="42" y="278"/>
                    </a:lnTo>
                    <a:lnTo>
                      <a:pt x="58" y="293"/>
                    </a:lnTo>
                    <a:lnTo>
                      <a:pt x="67" y="299"/>
                    </a:lnTo>
                    <a:lnTo>
                      <a:pt x="75" y="306"/>
                    </a:lnTo>
                    <a:lnTo>
                      <a:pt x="86" y="312"/>
                    </a:lnTo>
                    <a:lnTo>
                      <a:pt x="96" y="314"/>
                    </a:lnTo>
                    <a:lnTo>
                      <a:pt x="96" y="0"/>
                    </a:lnTo>
                    <a:lnTo>
                      <a:pt x="86" y="5"/>
                    </a:lnTo>
                    <a:lnTo>
                      <a:pt x="67" y="15"/>
                    </a:lnTo>
                    <a:close/>
                  </a:path>
                </a:pathLst>
              </a:custGeom>
              <a:grpFill/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Freeform 21">
                <a:extLst>
                  <a:ext uri="{FF2B5EF4-FFF2-40B4-BE49-F238E27FC236}">
                    <a16:creationId xmlns:a16="http://schemas.microsoft.com/office/drawing/2014/main" id="{E33234E7-92A2-4BBA-AE9B-6843F061F3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0" y="1614"/>
                <a:ext cx="96" cy="314"/>
              </a:xfrm>
              <a:custGeom>
                <a:avLst/>
                <a:gdLst>
                  <a:gd name="T0" fmla="*/ 92 w 96"/>
                  <a:gd name="T1" fmla="*/ 117 h 314"/>
                  <a:gd name="T2" fmla="*/ 87 w 96"/>
                  <a:gd name="T3" fmla="*/ 103 h 314"/>
                  <a:gd name="T4" fmla="*/ 83 w 96"/>
                  <a:gd name="T5" fmla="*/ 90 h 314"/>
                  <a:gd name="T6" fmla="*/ 79 w 96"/>
                  <a:gd name="T7" fmla="*/ 78 h 314"/>
                  <a:gd name="T8" fmla="*/ 75 w 96"/>
                  <a:gd name="T9" fmla="*/ 67 h 314"/>
                  <a:gd name="T10" fmla="*/ 69 w 96"/>
                  <a:gd name="T11" fmla="*/ 57 h 314"/>
                  <a:gd name="T12" fmla="*/ 62 w 96"/>
                  <a:gd name="T13" fmla="*/ 46 h 314"/>
                  <a:gd name="T14" fmla="*/ 54 w 96"/>
                  <a:gd name="T15" fmla="*/ 38 h 314"/>
                  <a:gd name="T16" fmla="*/ 39 w 96"/>
                  <a:gd name="T17" fmla="*/ 21 h 314"/>
                  <a:gd name="T18" fmla="*/ 31 w 96"/>
                  <a:gd name="T19" fmla="*/ 15 h 314"/>
                  <a:gd name="T20" fmla="*/ 10 w 96"/>
                  <a:gd name="T21" fmla="*/ 5 h 314"/>
                  <a:gd name="T22" fmla="*/ 0 w 96"/>
                  <a:gd name="T23" fmla="*/ 0 h 314"/>
                  <a:gd name="T24" fmla="*/ 0 w 96"/>
                  <a:gd name="T25" fmla="*/ 314 h 314"/>
                  <a:gd name="T26" fmla="*/ 10 w 96"/>
                  <a:gd name="T27" fmla="*/ 312 h 314"/>
                  <a:gd name="T28" fmla="*/ 21 w 96"/>
                  <a:gd name="T29" fmla="*/ 306 h 314"/>
                  <a:gd name="T30" fmla="*/ 31 w 96"/>
                  <a:gd name="T31" fmla="*/ 299 h 314"/>
                  <a:gd name="T32" fmla="*/ 39 w 96"/>
                  <a:gd name="T33" fmla="*/ 293 h 314"/>
                  <a:gd name="T34" fmla="*/ 54 w 96"/>
                  <a:gd name="T35" fmla="*/ 278 h 314"/>
                  <a:gd name="T36" fmla="*/ 62 w 96"/>
                  <a:gd name="T37" fmla="*/ 270 h 314"/>
                  <a:gd name="T38" fmla="*/ 69 w 96"/>
                  <a:gd name="T39" fmla="*/ 257 h 314"/>
                  <a:gd name="T40" fmla="*/ 75 w 96"/>
                  <a:gd name="T41" fmla="*/ 247 h 314"/>
                  <a:gd name="T42" fmla="*/ 79 w 96"/>
                  <a:gd name="T43" fmla="*/ 237 h 314"/>
                  <a:gd name="T44" fmla="*/ 83 w 96"/>
                  <a:gd name="T45" fmla="*/ 224 h 314"/>
                  <a:gd name="T46" fmla="*/ 87 w 96"/>
                  <a:gd name="T47" fmla="*/ 211 h 314"/>
                  <a:gd name="T48" fmla="*/ 92 w 96"/>
                  <a:gd name="T49" fmla="*/ 199 h 314"/>
                  <a:gd name="T50" fmla="*/ 92 w 96"/>
                  <a:gd name="T51" fmla="*/ 184 h 314"/>
                  <a:gd name="T52" fmla="*/ 96 w 96"/>
                  <a:gd name="T53" fmla="*/ 172 h 314"/>
                  <a:gd name="T54" fmla="*/ 96 w 96"/>
                  <a:gd name="T55" fmla="*/ 145 h 314"/>
                  <a:gd name="T56" fmla="*/ 92 w 96"/>
                  <a:gd name="T57" fmla="*/ 130 h 314"/>
                  <a:gd name="T58" fmla="*/ 92 w 96"/>
                  <a:gd name="T59" fmla="*/ 117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6" h="314">
                    <a:moveTo>
                      <a:pt x="92" y="117"/>
                    </a:moveTo>
                    <a:lnTo>
                      <a:pt x="87" y="103"/>
                    </a:lnTo>
                    <a:lnTo>
                      <a:pt x="83" y="90"/>
                    </a:lnTo>
                    <a:lnTo>
                      <a:pt x="79" y="78"/>
                    </a:lnTo>
                    <a:lnTo>
                      <a:pt x="75" y="67"/>
                    </a:lnTo>
                    <a:lnTo>
                      <a:pt x="69" y="57"/>
                    </a:lnTo>
                    <a:lnTo>
                      <a:pt x="62" y="46"/>
                    </a:lnTo>
                    <a:lnTo>
                      <a:pt x="54" y="38"/>
                    </a:lnTo>
                    <a:lnTo>
                      <a:pt x="39" y="21"/>
                    </a:lnTo>
                    <a:lnTo>
                      <a:pt x="31" y="15"/>
                    </a:lnTo>
                    <a:lnTo>
                      <a:pt x="10" y="5"/>
                    </a:lnTo>
                    <a:lnTo>
                      <a:pt x="0" y="0"/>
                    </a:lnTo>
                    <a:lnTo>
                      <a:pt x="0" y="314"/>
                    </a:lnTo>
                    <a:lnTo>
                      <a:pt x="10" y="312"/>
                    </a:lnTo>
                    <a:lnTo>
                      <a:pt x="21" y="306"/>
                    </a:lnTo>
                    <a:lnTo>
                      <a:pt x="31" y="299"/>
                    </a:lnTo>
                    <a:lnTo>
                      <a:pt x="39" y="293"/>
                    </a:lnTo>
                    <a:lnTo>
                      <a:pt x="54" y="278"/>
                    </a:lnTo>
                    <a:lnTo>
                      <a:pt x="62" y="270"/>
                    </a:lnTo>
                    <a:lnTo>
                      <a:pt x="69" y="257"/>
                    </a:lnTo>
                    <a:lnTo>
                      <a:pt x="75" y="247"/>
                    </a:lnTo>
                    <a:lnTo>
                      <a:pt x="79" y="237"/>
                    </a:lnTo>
                    <a:lnTo>
                      <a:pt x="83" y="224"/>
                    </a:lnTo>
                    <a:lnTo>
                      <a:pt x="87" y="211"/>
                    </a:lnTo>
                    <a:lnTo>
                      <a:pt x="92" y="199"/>
                    </a:lnTo>
                    <a:lnTo>
                      <a:pt x="92" y="184"/>
                    </a:lnTo>
                    <a:lnTo>
                      <a:pt x="96" y="172"/>
                    </a:lnTo>
                    <a:lnTo>
                      <a:pt x="96" y="145"/>
                    </a:lnTo>
                    <a:lnTo>
                      <a:pt x="92" y="130"/>
                    </a:lnTo>
                    <a:lnTo>
                      <a:pt x="92" y="117"/>
                    </a:lnTo>
                    <a:close/>
                  </a:path>
                </a:pathLst>
              </a:custGeom>
              <a:grpFill/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Freeform 22">
                <a:extLst>
                  <a:ext uri="{FF2B5EF4-FFF2-40B4-BE49-F238E27FC236}">
                    <a16:creationId xmlns:a16="http://schemas.microsoft.com/office/drawing/2014/main" id="{7B4AE26B-C423-483F-B535-FE83E30A06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6" y="1299"/>
                <a:ext cx="661" cy="949"/>
              </a:xfrm>
              <a:custGeom>
                <a:avLst/>
                <a:gdLst>
                  <a:gd name="T0" fmla="*/ 10 w 661"/>
                  <a:gd name="T1" fmla="*/ 627 h 949"/>
                  <a:gd name="T2" fmla="*/ 29 w 661"/>
                  <a:gd name="T3" fmla="*/ 721 h 949"/>
                  <a:gd name="T4" fmla="*/ 185 w 661"/>
                  <a:gd name="T5" fmla="*/ 740 h 949"/>
                  <a:gd name="T6" fmla="*/ 215 w 661"/>
                  <a:gd name="T7" fmla="*/ 710 h 949"/>
                  <a:gd name="T8" fmla="*/ 327 w 661"/>
                  <a:gd name="T9" fmla="*/ 704 h 949"/>
                  <a:gd name="T10" fmla="*/ 365 w 661"/>
                  <a:gd name="T11" fmla="*/ 715 h 949"/>
                  <a:gd name="T12" fmla="*/ 390 w 661"/>
                  <a:gd name="T13" fmla="*/ 744 h 949"/>
                  <a:gd name="T14" fmla="*/ 394 w 661"/>
                  <a:gd name="T15" fmla="*/ 781 h 949"/>
                  <a:gd name="T16" fmla="*/ 384 w 661"/>
                  <a:gd name="T17" fmla="*/ 819 h 949"/>
                  <a:gd name="T18" fmla="*/ 354 w 661"/>
                  <a:gd name="T19" fmla="*/ 844 h 949"/>
                  <a:gd name="T20" fmla="*/ 246 w 661"/>
                  <a:gd name="T21" fmla="*/ 848 h 949"/>
                  <a:gd name="T22" fmla="*/ 215 w 661"/>
                  <a:gd name="T23" fmla="*/ 840 h 949"/>
                  <a:gd name="T24" fmla="*/ 190 w 661"/>
                  <a:gd name="T25" fmla="*/ 821 h 949"/>
                  <a:gd name="T26" fmla="*/ 62 w 661"/>
                  <a:gd name="T27" fmla="*/ 802 h 949"/>
                  <a:gd name="T28" fmla="*/ 94 w 661"/>
                  <a:gd name="T29" fmla="*/ 852 h 949"/>
                  <a:gd name="T30" fmla="*/ 152 w 661"/>
                  <a:gd name="T31" fmla="*/ 905 h 949"/>
                  <a:gd name="T32" fmla="*/ 204 w 661"/>
                  <a:gd name="T33" fmla="*/ 930 h 949"/>
                  <a:gd name="T34" fmla="*/ 267 w 661"/>
                  <a:gd name="T35" fmla="*/ 944 h 949"/>
                  <a:gd name="T36" fmla="*/ 377 w 661"/>
                  <a:gd name="T37" fmla="*/ 949 h 949"/>
                  <a:gd name="T38" fmla="*/ 434 w 661"/>
                  <a:gd name="T39" fmla="*/ 940 h 949"/>
                  <a:gd name="T40" fmla="*/ 484 w 661"/>
                  <a:gd name="T41" fmla="*/ 921 h 949"/>
                  <a:gd name="T42" fmla="*/ 540 w 661"/>
                  <a:gd name="T43" fmla="*/ 888 h 949"/>
                  <a:gd name="T44" fmla="*/ 586 w 661"/>
                  <a:gd name="T45" fmla="*/ 838 h 949"/>
                  <a:gd name="T46" fmla="*/ 619 w 661"/>
                  <a:gd name="T47" fmla="*/ 773 h 949"/>
                  <a:gd name="T48" fmla="*/ 638 w 661"/>
                  <a:gd name="T49" fmla="*/ 712 h 949"/>
                  <a:gd name="T50" fmla="*/ 651 w 661"/>
                  <a:gd name="T51" fmla="*/ 644 h 949"/>
                  <a:gd name="T52" fmla="*/ 661 w 661"/>
                  <a:gd name="T53" fmla="*/ 474 h 949"/>
                  <a:gd name="T54" fmla="*/ 651 w 661"/>
                  <a:gd name="T55" fmla="*/ 305 h 949"/>
                  <a:gd name="T56" fmla="*/ 632 w 661"/>
                  <a:gd name="T57" fmla="*/ 215 h 949"/>
                  <a:gd name="T58" fmla="*/ 603 w 661"/>
                  <a:gd name="T59" fmla="*/ 142 h 949"/>
                  <a:gd name="T60" fmla="*/ 576 w 661"/>
                  <a:gd name="T61" fmla="*/ 98 h 949"/>
                  <a:gd name="T62" fmla="*/ 515 w 661"/>
                  <a:gd name="T63" fmla="*/ 42 h 949"/>
                  <a:gd name="T64" fmla="*/ 467 w 661"/>
                  <a:gd name="T65" fmla="*/ 19 h 949"/>
                  <a:gd name="T66" fmla="*/ 396 w 661"/>
                  <a:gd name="T67" fmla="*/ 2 h 949"/>
                  <a:gd name="T68" fmla="*/ 315 w 661"/>
                  <a:gd name="T69" fmla="*/ 0 h 949"/>
                  <a:gd name="T70" fmla="*/ 235 w 661"/>
                  <a:gd name="T71" fmla="*/ 10 h 949"/>
                  <a:gd name="T72" fmla="*/ 154 w 661"/>
                  <a:gd name="T73" fmla="*/ 44 h 949"/>
                  <a:gd name="T74" fmla="*/ 117 w 661"/>
                  <a:gd name="T75" fmla="*/ 75 h 949"/>
                  <a:gd name="T76" fmla="*/ 81 w 661"/>
                  <a:gd name="T77" fmla="*/ 115 h 949"/>
                  <a:gd name="T78" fmla="*/ 54 w 661"/>
                  <a:gd name="T79" fmla="*/ 161 h 949"/>
                  <a:gd name="T80" fmla="*/ 33 w 661"/>
                  <a:gd name="T81" fmla="*/ 219 h 949"/>
                  <a:gd name="T82" fmla="*/ 16 w 661"/>
                  <a:gd name="T83" fmla="*/ 284 h 949"/>
                  <a:gd name="T84" fmla="*/ 6 w 661"/>
                  <a:gd name="T85" fmla="*/ 359 h 949"/>
                  <a:gd name="T86" fmla="*/ 2 w 661"/>
                  <a:gd name="T87" fmla="*/ 514 h 9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61" h="949">
                    <a:moveTo>
                      <a:pt x="2" y="554"/>
                    </a:moveTo>
                    <a:lnTo>
                      <a:pt x="6" y="591"/>
                    </a:lnTo>
                    <a:lnTo>
                      <a:pt x="10" y="627"/>
                    </a:lnTo>
                    <a:lnTo>
                      <a:pt x="14" y="660"/>
                    </a:lnTo>
                    <a:lnTo>
                      <a:pt x="21" y="692"/>
                    </a:lnTo>
                    <a:lnTo>
                      <a:pt x="29" y="721"/>
                    </a:lnTo>
                    <a:lnTo>
                      <a:pt x="37" y="750"/>
                    </a:lnTo>
                    <a:lnTo>
                      <a:pt x="181" y="750"/>
                    </a:lnTo>
                    <a:lnTo>
                      <a:pt x="185" y="740"/>
                    </a:lnTo>
                    <a:lnTo>
                      <a:pt x="190" y="729"/>
                    </a:lnTo>
                    <a:lnTo>
                      <a:pt x="204" y="717"/>
                    </a:lnTo>
                    <a:lnTo>
                      <a:pt x="215" y="710"/>
                    </a:lnTo>
                    <a:lnTo>
                      <a:pt x="225" y="706"/>
                    </a:lnTo>
                    <a:lnTo>
                      <a:pt x="235" y="704"/>
                    </a:lnTo>
                    <a:lnTo>
                      <a:pt x="327" y="704"/>
                    </a:lnTo>
                    <a:lnTo>
                      <a:pt x="342" y="704"/>
                    </a:lnTo>
                    <a:lnTo>
                      <a:pt x="354" y="708"/>
                    </a:lnTo>
                    <a:lnTo>
                      <a:pt x="365" y="715"/>
                    </a:lnTo>
                    <a:lnTo>
                      <a:pt x="375" y="723"/>
                    </a:lnTo>
                    <a:lnTo>
                      <a:pt x="384" y="733"/>
                    </a:lnTo>
                    <a:lnTo>
                      <a:pt x="390" y="744"/>
                    </a:lnTo>
                    <a:lnTo>
                      <a:pt x="394" y="756"/>
                    </a:lnTo>
                    <a:lnTo>
                      <a:pt x="394" y="771"/>
                    </a:lnTo>
                    <a:lnTo>
                      <a:pt x="394" y="781"/>
                    </a:lnTo>
                    <a:lnTo>
                      <a:pt x="394" y="794"/>
                    </a:lnTo>
                    <a:lnTo>
                      <a:pt x="390" y="809"/>
                    </a:lnTo>
                    <a:lnTo>
                      <a:pt x="384" y="819"/>
                    </a:lnTo>
                    <a:lnTo>
                      <a:pt x="375" y="829"/>
                    </a:lnTo>
                    <a:lnTo>
                      <a:pt x="365" y="838"/>
                    </a:lnTo>
                    <a:lnTo>
                      <a:pt x="354" y="844"/>
                    </a:lnTo>
                    <a:lnTo>
                      <a:pt x="342" y="848"/>
                    </a:lnTo>
                    <a:lnTo>
                      <a:pt x="327" y="848"/>
                    </a:lnTo>
                    <a:lnTo>
                      <a:pt x="246" y="848"/>
                    </a:lnTo>
                    <a:lnTo>
                      <a:pt x="235" y="848"/>
                    </a:lnTo>
                    <a:lnTo>
                      <a:pt x="225" y="844"/>
                    </a:lnTo>
                    <a:lnTo>
                      <a:pt x="215" y="840"/>
                    </a:lnTo>
                    <a:lnTo>
                      <a:pt x="204" y="836"/>
                    </a:lnTo>
                    <a:lnTo>
                      <a:pt x="198" y="829"/>
                    </a:lnTo>
                    <a:lnTo>
                      <a:pt x="190" y="821"/>
                    </a:lnTo>
                    <a:lnTo>
                      <a:pt x="185" y="813"/>
                    </a:lnTo>
                    <a:lnTo>
                      <a:pt x="181" y="802"/>
                    </a:lnTo>
                    <a:lnTo>
                      <a:pt x="62" y="802"/>
                    </a:lnTo>
                    <a:lnTo>
                      <a:pt x="71" y="821"/>
                    </a:lnTo>
                    <a:lnTo>
                      <a:pt x="81" y="838"/>
                    </a:lnTo>
                    <a:lnTo>
                      <a:pt x="94" y="852"/>
                    </a:lnTo>
                    <a:lnTo>
                      <a:pt x="121" y="880"/>
                    </a:lnTo>
                    <a:lnTo>
                      <a:pt x="137" y="892"/>
                    </a:lnTo>
                    <a:lnTo>
                      <a:pt x="152" y="905"/>
                    </a:lnTo>
                    <a:lnTo>
                      <a:pt x="169" y="913"/>
                    </a:lnTo>
                    <a:lnTo>
                      <a:pt x="187" y="921"/>
                    </a:lnTo>
                    <a:lnTo>
                      <a:pt x="204" y="930"/>
                    </a:lnTo>
                    <a:lnTo>
                      <a:pt x="225" y="936"/>
                    </a:lnTo>
                    <a:lnTo>
                      <a:pt x="244" y="940"/>
                    </a:lnTo>
                    <a:lnTo>
                      <a:pt x="267" y="944"/>
                    </a:lnTo>
                    <a:lnTo>
                      <a:pt x="311" y="949"/>
                    </a:lnTo>
                    <a:lnTo>
                      <a:pt x="356" y="949"/>
                    </a:lnTo>
                    <a:lnTo>
                      <a:pt x="377" y="949"/>
                    </a:lnTo>
                    <a:lnTo>
                      <a:pt x="396" y="946"/>
                    </a:lnTo>
                    <a:lnTo>
                      <a:pt x="415" y="944"/>
                    </a:lnTo>
                    <a:lnTo>
                      <a:pt x="434" y="940"/>
                    </a:lnTo>
                    <a:lnTo>
                      <a:pt x="452" y="934"/>
                    </a:lnTo>
                    <a:lnTo>
                      <a:pt x="467" y="928"/>
                    </a:lnTo>
                    <a:lnTo>
                      <a:pt x="484" y="921"/>
                    </a:lnTo>
                    <a:lnTo>
                      <a:pt x="515" y="909"/>
                    </a:lnTo>
                    <a:lnTo>
                      <a:pt x="528" y="898"/>
                    </a:lnTo>
                    <a:lnTo>
                      <a:pt x="540" y="888"/>
                    </a:lnTo>
                    <a:lnTo>
                      <a:pt x="563" y="865"/>
                    </a:lnTo>
                    <a:lnTo>
                      <a:pt x="576" y="852"/>
                    </a:lnTo>
                    <a:lnTo>
                      <a:pt x="586" y="838"/>
                    </a:lnTo>
                    <a:lnTo>
                      <a:pt x="594" y="825"/>
                    </a:lnTo>
                    <a:lnTo>
                      <a:pt x="603" y="809"/>
                    </a:lnTo>
                    <a:lnTo>
                      <a:pt x="619" y="773"/>
                    </a:lnTo>
                    <a:lnTo>
                      <a:pt x="626" y="754"/>
                    </a:lnTo>
                    <a:lnTo>
                      <a:pt x="632" y="733"/>
                    </a:lnTo>
                    <a:lnTo>
                      <a:pt x="638" y="712"/>
                    </a:lnTo>
                    <a:lnTo>
                      <a:pt x="642" y="692"/>
                    </a:lnTo>
                    <a:lnTo>
                      <a:pt x="646" y="666"/>
                    </a:lnTo>
                    <a:lnTo>
                      <a:pt x="651" y="644"/>
                    </a:lnTo>
                    <a:lnTo>
                      <a:pt x="657" y="591"/>
                    </a:lnTo>
                    <a:lnTo>
                      <a:pt x="661" y="535"/>
                    </a:lnTo>
                    <a:lnTo>
                      <a:pt x="661" y="474"/>
                    </a:lnTo>
                    <a:lnTo>
                      <a:pt x="661" y="414"/>
                    </a:lnTo>
                    <a:lnTo>
                      <a:pt x="657" y="357"/>
                    </a:lnTo>
                    <a:lnTo>
                      <a:pt x="651" y="305"/>
                    </a:lnTo>
                    <a:lnTo>
                      <a:pt x="642" y="257"/>
                    </a:lnTo>
                    <a:lnTo>
                      <a:pt x="638" y="236"/>
                    </a:lnTo>
                    <a:lnTo>
                      <a:pt x="632" y="215"/>
                    </a:lnTo>
                    <a:lnTo>
                      <a:pt x="626" y="196"/>
                    </a:lnTo>
                    <a:lnTo>
                      <a:pt x="619" y="175"/>
                    </a:lnTo>
                    <a:lnTo>
                      <a:pt x="603" y="142"/>
                    </a:lnTo>
                    <a:lnTo>
                      <a:pt x="594" y="125"/>
                    </a:lnTo>
                    <a:lnTo>
                      <a:pt x="586" y="111"/>
                    </a:lnTo>
                    <a:lnTo>
                      <a:pt x="576" y="98"/>
                    </a:lnTo>
                    <a:lnTo>
                      <a:pt x="563" y="84"/>
                    </a:lnTo>
                    <a:lnTo>
                      <a:pt x="528" y="50"/>
                    </a:lnTo>
                    <a:lnTo>
                      <a:pt x="515" y="42"/>
                    </a:lnTo>
                    <a:lnTo>
                      <a:pt x="498" y="33"/>
                    </a:lnTo>
                    <a:lnTo>
                      <a:pt x="484" y="27"/>
                    </a:lnTo>
                    <a:lnTo>
                      <a:pt x="467" y="19"/>
                    </a:lnTo>
                    <a:lnTo>
                      <a:pt x="434" y="10"/>
                    </a:lnTo>
                    <a:lnTo>
                      <a:pt x="415" y="6"/>
                    </a:lnTo>
                    <a:lnTo>
                      <a:pt x="396" y="2"/>
                    </a:lnTo>
                    <a:lnTo>
                      <a:pt x="377" y="2"/>
                    </a:lnTo>
                    <a:lnTo>
                      <a:pt x="356" y="0"/>
                    </a:lnTo>
                    <a:lnTo>
                      <a:pt x="315" y="0"/>
                    </a:lnTo>
                    <a:lnTo>
                      <a:pt x="294" y="2"/>
                    </a:lnTo>
                    <a:lnTo>
                      <a:pt x="254" y="6"/>
                    </a:lnTo>
                    <a:lnTo>
                      <a:pt x="235" y="10"/>
                    </a:lnTo>
                    <a:lnTo>
                      <a:pt x="202" y="21"/>
                    </a:lnTo>
                    <a:lnTo>
                      <a:pt x="169" y="35"/>
                    </a:lnTo>
                    <a:lnTo>
                      <a:pt x="154" y="44"/>
                    </a:lnTo>
                    <a:lnTo>
                      <a:pt x="142" y="52"/>
                    </a:lnTo>
                    <a:lnTo>
                      <a:pt x="129" y="63"/>
                    </a:lnTo>
                    <a:lnTo>
                      <a:pt x="117" y="75"/>
                    </a:lnTo>
                    <a:lnTo>
                      <a:pt x="104" y="88"/>
                    </a:lnTo>
                    <a:lnTo>
                      <a:pt x="94" y="100"/>
                    </a:lnTo>
                    <a:lnTo>
                      <a:pt x="81" y="115"/>
                    </a:lnTo>
                    <a:lnTo>
                      <a:pt x="71" y="130"/>
                    </a:lnTo>
                    <a:lnTo>
                      <a:pt x="62" y="144"/>
                    </a:lnTo>
                    <a:lnTo>
                      <a:pt x="54" y="161"/>
                    </a:lnTo>
                    <a:lnTo>
                      <a:pt x="46" y="180"/>
                    </a:lnTo>
                    <a:lnTo>
                      <a:pt x="37" y="198"/>
                    </a:lnTo>
                    <a:lnTo>
                      <a:pt x="33" y="219"/>
                    </a:lnTo>
                    <a:lnTo>
                      <a:pt x="25" y="240"/>
                    </a:lnTo>
                    <a:lnTo>
                      <a:pt x="21" y="261"/>
                    </a:lnTo>
                    <a:lnTo>
                      <a:pt x="16" y="284"/>
                    </a:lnTo>
                    <a:lnTo>
                      <a:pt x="10" y="309"/>
                    </a:lnTo>
                    <a:lnTo>
                      <a:pt x="8" y="332"/>
                    </a:lnTo>
                    <a:lnTo>
                      <a:pt x="6" y="359"/>
                    </a:lnTo>
                    <a:lnTo>
                      <a:pt x="2" y="416"/>
                    </a:lnTo>
                    <a:lnTo>
                      <a:pt x="0" y="474"/>
                    </a:lnTo>
                    <a:lnTo>
                      <a:pt x="2" y="514"/>
                    </a:lnTo>
                    <a:lnTo>
                      <a:pt x="2" y="554"/>
                    </a:lnTo>
                    <a:close/>
                  </a:path>
                </a:pathLst>
              </a:custGeom>
              <a:grpFill/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Freeform 23">
                <a:extLst>
                  <a:ext uri="{FF2B5EF4-FFF2-40B4-BE49-F238E27FC236}">
                    <a16:creationId xmlns:a16="http://schemas.microsoft.com/office/drawing/2014/main" id="{D6501F48-BE33-4747-89F9-473A32E3E7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5" y="1138"/>
                <a:ext cx="1183" cy="1164"/>
              </a:xfrm>
              <a:custGeom>
                <a:avLst/>
                <a:gdLst>
                  <a:gd name="T0" fmla="*/ 1108 w 1183"/>
                  <a:gd name="T1" fmla="*/ 456 h 1164"/>
                  <a:gd name="T2" fmla="*/ 1018 w 1183"/>
                  <a:gd name="T3" fmla="*/ 309 h 1164"/>
                  <a:gd name="T4" fmla="*/ 933 w 1183"/>
                  <a:gd name="T5" fmla="*/ 140 h 1164"/>
                  <a:gd name="T6" fmla="*/ 757 w 1183"/>
                  <a:gd name="T7" fmla="*/ 21 h 1164"/>
                  <a:gd name="T8" fmla="*/ 547 w 1183"/>
                  <a:gd name="T9" fmla="*/ 0 h 1164"/>
                  <a:gd name="T10" fmla="*/ 378 w 1183"/>
                  <a:gd name="T11" fmla="*/ 46 h 1164"/>
                  <a:gd name="T12" fmla="*/ 242 w 1183"/>
                  <a:gd name="T13" fmla="*/ 159 h 1164"/>
                  <a:gd name="T14" fmla="*/ 154 w 1183"/>
                  <a:gd name="T15" fmla="*/ 366 h 1164"/>
                  <a:gd name="T16" fmla="*/ 52 w 1183"/>
                  <a:gd name="T17" fmla="*/ 479 h 1164"/>
                  <a:gd name="T18" fmla="*/ 0 w 1183"/>
                  <a:gd name="T19" fmla="*/ 612 h 1164"/>
                  <a:gd name="T20" fmla="*/ 44 w 1183"/>
                  <a:gd name="T21" fmla="*/ 775 h 1164"/>
                  <a:gd name="T22" fmla="*/ 104 w 1183"/>
                  <a:gd name="T23" fmla="*/ 853 h 1164"/>
                  <a:gd name="T24" fmla="*/ 158 w 1183"/>
                  <a:gd name="T25" fmla="*/ 942 h 1164"/>
                  <a:gd name="T26" fmla="*/ 284 w 1183"/>
                  <a:gd name="T27" fmla="*/ 1005 h 1164"/>
                  <a:gd name="T28" fmla="*/ 421 w 1183"/>
                  <a:gd name="T29" fmla="*/ 1130 h 1164"/>
                  <a:gd name="T30" fmla="*/ 655 w 1183"/>
                  <a:gd name="T31" fmla="*/ 1160 h 1164"/>
                  <a:gd name="T32" fmla="*/ 849 w 1183"/>
                  <a:gd name="T33" fmla="*/ 1076 h 1164"/>
                  <a:gd name="T34" fmla="*/ 943 w 1183"/>
                  <a:gd name="T35" fmla="*/ 911 h 1164"/>
                  <a:gd name="T36" fmla="*/ 970 w 1183"/>
                  <a:gd name="T37" fmla="*/ 495 h 1164"/>
                  <a:gd name="T38" fmla="*/ 912 w 1183"/>
                  <a:gd name="T39" fmla="*/ 278 h 1164"/>
                  <a:gd name="T40" fmla="*/ 776 w 1183"/>
                  <a:gd name="T41" fmla="*/ 144 h 1164"/>
                  <a:gd name="T42" fmla="*/ 534 w 1183"/>
                  <a:gd name="T43" fmla="*/ 111 h 1164"/>
                  <a:gd name="T44" fmla="*/ 352 w 1183"/>
                  <a:gd name="T45" fmla="*/ 184 h 1164"/>
                  <a:gd name="T46" fmla="*/ 240 w 1183"/>
                  <a:gd name="T47" fmla="*/ 370 h 1164"/>
                  <a:gd name="T48" fmla="*/ 208 w 1183"/>
                  <a:gd name="T49" fmla="*/ 704 h 1164"/>
                  <a:gd name="T50" fmla="*/ 202 w 1183"/>
                  <a:gd name="T51" fmla="*/ 907 h 1164"/>
                  <a:gd name="T52" fmla="*/ 156 w 1183"/>
                  <a:gd name="T53" fmla="*/ 846 h 1164"/>
                  <a:gd name="T54" fmla="*/ 221 w 1183"/>
                  <a:gd name="T55" fmla="*/ 322 h 1164"/>
                  <a:gd name="T56" fmla="*/ 327 w 1183"/>
                  <a:gd name="T57" fmla="*/ 142 h 1164"/>
                  <a:gd name="T58" fmla="*/ 511 w 1183"/>
                  <a:gd name="T59" fmla="*/ 59 h 1164"/>
                  <a:gd name="T60" fmla="*/ 720 w 1183"/>
                  <a:gd name="T61" fmla="*/ 67 h 1164"/>
                  <a:gd name="T62" fmla="*/ 876 w 1183"/>
                  <a:gd name="T63" fmla="*/ 155 h 1164"/>
                  <a:gd name="T64" fmla="*/ 966 w 1183"/>
                  <a:gd name="T65" fmla="*/ 322 h 1164"/>
                  <a:gd name="T66" fmla="*/ 1062 w 1183"/>
                  <a:gd name="T67" fmla="*/ 838 h 1164"/>
                  <a:gd name="T68" fmla="*/ 1162 w 1183"/>
                  <a:gd name="T69" fmla="*/ 736 h 1164"/>
                  <a:gd name="T70" fmla="*/ 1177 w 1183"/>
                  <a:gd name="T71" fmla="*/ 575 h 1164"/>
                  <a:gd name="T72" fmla="*/ 79 w 1183"/>
                  <a:gd name="T73" fmla="*/ 733 h 1164"/>
                  <a:gd name="T74" fmla="*/ 52 w 1183"/>
                  <a:gd name="T75" fmla="*/ 621 h 1164"/>
                  <a:gd name="T76" fmla="*/ 87 w 1183"/>
                  <a:gd name="T77" fmla="*/ 522 h 1164"/>
                  <a:gd name="T78" fmla="*/ 267 w 1183"/>
                  <a:gd name="T79" fmla="*/ 520 h 1164"/>
                  <a:gd name="T80" fmla="*/ 307 w 1183"/>
                  <a:gd name="T81" fmla="*/ 341 h 1164"/>
                  <a:gd name="T82" fmla="*/ 390 w 1183"/>
                  <a:gd name="T83" fmla="*/ 224 h 1164"/>
                  <a:gd name="T84" fmla="*/ 576 w 1183"/>
                  <a:gd name="T85" fmla="*/ 161 h 1164"/>
                  <a:gd name="T86" fmla="*/ 759 w 1183"/>
                  <a:gd name="T87" fmla="*/ 194 h 1164"/>
                  <a:gd name="T88" fmla="*/ 880 w 1183"/>
                  <a:gd name="T89" fmla="*/ 336 h 1164"/>
                  <a:gd name="T90" fmla="*/ 922 w 1183"/>
                  <a:gd name="T91" fmla="*/ 635 h 1164"/>
                  <a:gd name="T92" fmla="*/ 887 w 1183"/>
                  <a:gd name="T93" fmla="*/ 915 h 1164"/>
                  <a:gd name="T94" fmla="*/ 789 w 1183"/>
                  <a:gd name="T95" fmla="*/ 1059 h 1164"/>
                  <a:gd name="T96" fmla="*/ 638 w 1183"/>
                  <a:gd name="T97" fmla="*/ 1110 h 1164"/>
                  <a:gd name="T98" fmla="*/ 430 w 1183"/>
                  <a:gd name="T99" fmla="*/ 1074 h 1164"/>
                  <a:gd name="T100" fmla="*/ 442 w 1183"/>
                  <a:gd name="T101" fmla="*/ 963 h 1164"/>
                  <a:gd name="T102" fmla="*/ 507 w 1183"/>
                  <a:gd name="T103" fmla="*/ 1009 h 1164"/>
                  <a:gd name="T104" fmla="*/ 655 w 1183"/>
                  <a:gd name="T105" fmla="*/ 955 h 1164"/>
                  <a:gd name="T106" fmla="*/ 615 w 1183"/>
                  <a:gd name="T107" fmla="*/ 869 h 1164"/>
                  <a:gd name="T108" fmla="*/ 446 w 1183"/>
                  <a:gd name="T109" fmla="*/ 901 h 1164"/>
                  <a:gd name="T110" fmla="*/ 263 w 1183"/>
                  <a:gd name="T111" fmla="*/ 715 h 1164"/>
                  <a:gd name="T112" fmla="*/ 1118 w 1183"/>
                  <a:gd name="T113" fmla="*/ 700 h 1164"/>
                  <a:gd name="T114" fmla="*/ 1056 w 1183"/>
                  <a:gd name="T115" fmla="*/ 782 h 1164"/>
                  <a:gd name="T116" fmla="*/ 1097 w 1183"/>
                  <a:gd name="T117" fmla="*/ 522 h 1164"/>
                  <a:gd name="T118" fmla="*/ 1131 w 1183"/>
                  <a:gd name="T119" fmla="*/ 621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3" h="1164">
                    <a:moveTo>
                      <a:pt x="1177" y="575"/>
                    </a:moveTo>
                    <a:lnTo>
                      <a:pt x="1172" y="558"/>
                    </a:lnTo>
                    <a:lnTo>
                      <a:pt x="1166" y="539"/>
                    </a:lnTo>
                    <a:lnTo>
                      <a:pt x="1158" y="525"/>
                    </a:lnTo>
                    <a:lnTo>
                      <a:pt x="1150" y="508"/>
                    </a:lnTo>
                    <a:lnTo>
                      <a:pt x="1141" y="493"/>
                    </a:lnTo>
                    <a:lnTo>
                      <a:pt x="1118" y="466"/>
                    </a:lnTo>
                    <a:lnTo>
                      <a:pt x="1108" y="456"/>
                    </a:lnTo>
                    <a:lnTo>
                      <a:pt x="1093" y="445"/>
                    </a:lnTo>
                    <a:lnTo>
                      <a:pt x="1066" y="430"/>
                    </a:lnTo>
                    <a:lnTo>
                      <a:pt x="1051" y="426"/>
                    </a:lnTo>
                    <a:lnTo>
                      <a:pt x="1035" y="422"/>
                    </a:lnTo>
                    <a:lnTo>
                      <a:pt x="1033" y="397"/>
                    </a:lnTo>
                    <a:lnTo>
                      <a:pt x="1028" y="366"/>
                    </a:lnTo>
                    <a:lnTo>
                      <a:pt x="1022" y="330"/>
                    </a:lnTo>
                    <a:lnTo>
                      <a:pt x="1018" y="309"/>
                    </a:lnTo>
                    <a:lnTo>
                      <a:pt x="1012" y="288"/>
                    </a:lnTo>
                    <a:lnTo>
                      <a:pt x="1003" y="268"/>
                    </a:lnTo>
                    <a:lnTo>
                      <a:pt x="995" y="247"/>
                    </a:lnTo>
                    <a:lnTo>
                      <a:pt x="987" y="224"/>
                    </a:lnTo>
                    <a:lnTo>
                      <a:pt x="976" y="203"/>
                    </a:lnTo>
                    <a:lnTo>
                      <a:pt x="962" y="180"/>
                    </a:lnTo>
                    <a:lnTo>
                      <a:pt x="947" y="159"/>
                    </a:lnTo>
                    <a:lnTo>
                      <a:pt x="933" y="140"/>
                    </a:lnTo>
                    <a:lnTo>
                      <a:pt x="914" y="119"/>
                    </a:lnTo>
                    <a:lnTo>
                      <a:pt x="899" y="105"/>
                    </a:lnTo>
                    <a:lnTo>
                      <a:pt x="885" y="92"/>
                    </a:lnTo>
                    <a:lnTo>
                      <a:pt x="851" y="67"/>
                    </a:lnTo>
                    <a:lnTo>
                      <a:pt x="814" y="46"/>
                    </a:lnTo>
                    <a:lnTo>
                      <a:pt x="797" y="38"/>
                    </a:lnTo>
                    <a:lnTo>
                      <a:pt x="776" y="29"/>
                    </a:lnTo>
                    <a:lnTo>
                      <a:pt x="757" y="21"/>
                    </a:lnTo>
                    <a:lnTo>
                      <a:pt x="736" y="17"/>
                    </a:lnTo>
                    <a:lnTo>
                      <a:pt x="713" y="11"/>
                    </a:lnTo>
                    <a:lnTo>
                      <a:pt x="690" y="8"/>
                    </a:lnTo>
                    <a:lnTo>
                      <a:pt x="668" y="4"/>
                    </a:lnTo>
                    <a:lnTo>
                      <a:pt x="645" y="0"/>
                    </a:lnTo>
                    <a:lnTo>
                      <a:pt x="620" y="0"/>
                    </a:lnTo>
                    <a:lnTo>
                      <a:pt x="572" y="0"/>
                    </a:lnTo>
                    <a:lnTo>
                      <a:pt x="547" y="0"/>
                    </a:lnTo>
                    <a:lnTo>
                      <a:pt x="524" y="4"/>
                    </a:lnTo>
                    <a:lnTo>
                      <a:pt x="499" y="8"/>
                    </a:lnTo>
                    <a:lnTo>
                      <a:pt x="478" y="11"/>
                    </a:lnTo>
                    <a:lnTo>
                      <a:pt x="457" y="17"/>
                    </a:lnTo>
                    <a:lnTo>
                      <a:pt x="436" y="21"/>
                    </a:lnTo>
                    <a:lnTo>
                      <a:pt x="415" y="29"/>
                    </a:lnTo>
                    <a:lnTo>
                      <a:pt x="394" y="36"/>
                    </a:lnTo>
                    <a:lnTo>
                      <a:pt x="378" y="46"/>
                    </a:lnTo>
                    <a:lnTo>
                      <a:pt x="359" y="56"/>
                    </a:lnTo>
                    <a:lnTo>
                      <a:pt x="340" y="67"/>
                    </a:lnTo>
                    <a:lnTo>
                      <a:pt x="323" y="79"/>
                    </a:lnTo>
                    <a:lnTo>
                      <a:pt x="307" y="92"/>
                    </a:lnTo>
                    <a:lnTo>
                      <a:pt x="292" y="105"/>
                    </a:lnTo>
                    <a:lnTo>
                      <a:pt x="275" y="117"/>
                    </a:lnTo>
                    <a:lnTo>
                      <a:pt x="259" y="138"/>
                    </a:lnTo>
                    <a:lnTo>
                      <a:pt x="242" y="159"/>
                    </a:lnTo>
                    <a:lnTo>
                      <a:pt x="227" y="180"/>
                    </a:lnTo>
                    <a:lnTo>
                      <a:pt x="213" y="201"/>
                    </a:lnTo>
                    <a:lnTo>
                      <a:pt x="192" y="247"/>
                    </a:lnTo>
                    <a:lnTo>
                      <a:pt x="183" y="268"/>
                    </a:lnTo>
                    <a:lnTo>
                      <a:pt x="175" y="288"/>
                    </a:lnTo>
                    <a:lnTo>
                      <a:pt x="169" y="309"/>
                    </a:lnTo>
                    <a:lnTo>
                      <a:pt x="163" y="328"/>
                    </a:lnTo>
                    <a:lnTo>
                      <a:pt x="154" y="366"/>
                    </a:lnTo>
                    <a:lnTo>
                      <a:pt x="150" y="397"/>
                    </a:lnTo>
                    <a:lnTo>
                      <a:pt x="150" y="422"/>
                    </a:lnTo>
                    <a:lnTo>
                      <a:pt x="133" y="426"/>
                    </a:lnTo>
                    <a:lnTo>
                      <a:pt x="104" y="437"/>
                    </a:lnTo>
                    <a:lnTo>
                      <a:pt x="90" y="445"/>
                    </a:lnTo>
                    <a:lnTo>
                      <a:pt x="77" y="456"/>
                    </a:lnTo>
                    <a:lnTo>
                      <a:pt x="65" y="466"/>
                    </a:lnTo>
                    <a:lnTo>
                      <a:pt x="52" y="479"/>
                    </a:lnTo>
                    <a:lnTo>
                      <a:pt x="44" y="493"/>
                    </a:lnTo>
                    <a:lnTo>
                      <a:pt x="33" y="508"/>
                    </a:lnTo>
                    <a:lnTo>
                      <a:pt x="25" y="525"/>
                    </a:lnTo>
                    <a:lnTo>
                      <a:pt x="17" y="539"/>
                    </a:lnTo>
                    <a:lnTo>
                      <a:pt x="12" y="556"/>
                    </a:lnTo>
                    <a:lnTo>
                      <a:pt x="6" y="575"/>
                    </a:lnTo>
                    <a:lnTo>
                      <a:pt x="4" y="593"/>
                    </a:lnTo>
                    <a:lnTo>
                      <a:pt x="0" y="612"/>
                    </a:lnTo>
                    <a:lnTo>
                      <a:pt x="0" y="648"/>
                    </a:lnTo>
                    <a:lnTo>
                      <a:pt x="2" y="665"/>
                    </a:lnTo>
                    <a:lnTo>
                      <a:pt x="4" y="681"/>
                    </a:lnTo>
                    <a:lnTo>
                      <a:pt x="12" y="710"/>
                    </a:lnTo>
                    <a:lnTo>
                      <a:pt x="17" y="723"/>
                    </a:lnTo>
                    <a:lnTo>
                      <a:pt x="27" y="752"/>
                    </a:lnTo>
                    <a:lnTo>
                      <a:pt x="35" y="763"/>
                    </a:lnTo>
                    <a:lnTo>
                      <a:pt x="44" y="775"/>
                    </a:lnTo>
                    <a:lnTo>
                      <a:pt x="52" y="786"/>
                    </a:lnTo>
                    <a:lnTo>
                      <a:pt x="62" y="796"/>
                    </a:lnTo>
                    <a:lnTo>
                      <a:pt x="71" y="805"/>
                    </a:lnTo>
                    <a:lnTo>
                      <a:pt x="81" y="815"/>
                    </a:lnTo>
                    <a:lnTo>
                      <a:pt x="92" y="821"/>
                    </a:lnTo>
                    <a:lnTo>
                      <a:pt x="102" y="827"/>
                    </a:lnTo>
                    <a:lnTo>
                      <a:pt x="102" y="840"/>
                    </a:lnTo>
                    <a:lnTo>
                      <a:pt x="104" y="853"/>
                    </a:lnTo>
                    <a:lnTo>
                      <a:pt x="104" y="863"/>
                    </a:lnTo>
                    <a:lnTo>
                      <a:pt x="106" y="873"/>
                    </a:lnTo>
                    <a:lnTo>
                      <a:pt x="110" y="886"/>
                    </a:lnTo>
                    <a:lnTo>
                      <a:pt x="117" y="901"/>
                    </a:lnTo>
                    <a:lnTo>
                      <a:pt x="125" y="913"/>
                    </a:lnTo>
                    <a:lnTo>
                      <a:pt x="138" y="926"/>
                    </a:lnTo>
                    <a:lnTo>
                      <a:pt x="146" y="936"/>
                    </a:lnTo>
                    <a:lnTo>
                      <a:pt x="158" y="942"/>
                    </a:lnTo>
                    <a:lnTo>
                      <a:pt x="167" y="949"/>
                    </a:lnTo>
                    <a:lnTo>
                      <a:pt x="179" y="955"/>
                    </a:lnTo>
                    <a:lnTo>
                      <a:pt x="192" y="957"/>
                    </a:lnTo>
                    <a:lnTo>
                      <a:pt x="206" y="961"/>
                    </a:lnTo>
                    <a:lnTo>
                      <a:pt x="221" y="963"/>
                    </a:lnTo>
                    <a:lnTo>
                      <a:pt x="263" y="963"/>
                    </a:lnTo>
                    <a:lnTo>
                      <a:pt x="271" y="986"/>
                    </a:lnTo>
                    <a:lnTo>
                      <a:pt x="284" y="1005"/>
                    </a:lnTo>
                    <a:lnTo>
                      <a:pt x="294" y="1024"/>
                    </a:lnTo>
                    <a:lnTo>
                      <a:pt x="311" y="1043"/>
                    </a:lnTo>
                    <a:lnTo>
                      <a:pt x="325" y="1059"/>
                    </a:lnTo>
                    <a:lnTo>
                      <a:pt x="342" y="1076"/>
                    </a:lnTo>
                    <a:lnTo>
                      <a:pt x="359" y="1093"/>
                    </a:lnTo>
                    <a:lnTo>
                      <a:pt x="378" y="1107"/>
                    </a:lnTo>
                    <a:lnTo>
                      <a:pt x="400" y="1120"/>
                    </a:lnTo>
                    <a:lnTo>
                      <a:pt x="421" y="1130"/>
                    </a:lnTo>
                    <a:lnTo>
                      <a:pt x="446" y="1141"/>
                    </a:lnTo>
                    <a:lnTo>
                      <a:pt x="473" y="1149"/>
                    </a:lnTo>
                    <a:lnTo>
                      <a:pt x="501" y="1156"/>
                    </a:lnTo>
                    <a:lnTo>
                      <a:pt x="532" y="1160"/>
                    </a:lnTo>
                    <a:lnTo>
                      <a:pt x="563" y="1162"/>
                    </a:lnTo>
                    <a:lnTo>
                      <a:pt x="597" y="1164"/>
                    </a:lnTo>
                    <a:lnTo>
                      <a:pt x="628" y="1164"/>
                    </a:lnTo>
                    <a:lnTo>
                      <a:pt x="655" y="1160"/>
                    </a:lnTo>
                    <a:lnTo>
                      <a:pt x="684" y="1156"/>
                    </a:lnTo>
                    <a:lnTo>
                      <a:pt x="709" y="1151"/>
                    </a:lnTo>
                    <a:lnTo>
                      <a:pt x="757" y="1137"/>
                    </a:lnTo>
                    <a:lnTo>
                      <a:pt x="776" y="1126"/>
                    </a:lnTo>
                    <a:lnTo>
                      <a:pt x="797" y="1116"/>
                    </a:lnTo>
                    <a:lnTo>
                      <a:pt x="816" y="1103"/>
                    </a:lnTo>
                    <a:lnTo>
                      <a:pt x="832" y="1091"/>
                    </a:lnTo>
                    <a:lnTo>
                      <a:pt x="849" y="1076"/>
                    </a:lnTo>
                    <a:lnTo>
                      <a:pt x="864" y="1062"/>
                    </a:lnTo>
                    <a:lnTo>
                      <a:pt x="876" y="1045"/>
                    </a:lnTo>
                    <a:lnTo>
                      <a:pt x="901" y="1011"/>
                    </a:lnTo>
                    <a:lnTo>
                      <a:pt x="912" y="990"/>
                    </a:lnTo>
                    <a:lnTo>
                      <a:pt x="922" y="974"/>
                    </a:lnTo>
                    <a:lnTo>
                      <a:pt x="930" y="951"/>
                    </a:lnTo>
                    <a:lnTo>
                      <a:pt x="937" y="932"/>
                    </a:lnTo>
                    <a:lnTo>
                      <a:pt x="943" y="911"/>
                    </a:lnTo>
                    <a:lnTo>
                      <a:pt x="949" y="888"/>
                    </a:lnTo>
                    <a:lnTo>
                      <a:pt x="955" y="867"/>
                    </a:lnTo>
                    <a:lnTo>
                      <a:pt x="964" y="821"/>
                    </a:lnTo>
                    <a:lnTo>
                      <a:pt x="970" y="775"/>
                    </a:lnTo>
                    <a:lnTo>
                      <a:pt x="972" y="729"/>
                    </a:lnTo>
                    <a:lnTo>
                      <a:pt x="976" y="635"/>
                    </a:lnTo>
                    <a:lnTo>
                      <a:pt x="972" y="541"/>
                    </a:lnTo>
                    <a:lnTo>
                      <a:pt x="970" y="495"/>
                    </a:lnTo>
                    <a:lnTo>
                      <a:pt x="964" y="449"/>
                    </a:lnTo>
                    <a:lnTo>
                      <a:pt x="955" y="405"/>
                    </a:lnTo>
                    <a:lnTo>
                      <a:pt x="949" y="382"/>
                    </a:lnTo>
                    <a:lnTo>
                      <a:pt x="943" y="359"/>
                    </a:lnTo>
                    <a:lnTo>
                      <a:pt x="937" y="339"/>
                    </a:lnTo>
                    <a:lnTo>
                      <a:pt x="930" y="318"/>
                    </a:lnTo>
                    <a:lnTo>
                      <a:pt x="922" y="299"/>
                    </a:lnTo>
                    <a:lnTo>
                      <a:pt x="912" y="278"/>
                    </a:lnTo>
                    <a:lnTo>
                      <a:pt x="901" y="261"/>
                    </a:lnTo>
                    <a:lnTo>
                      <a:pt x="876" y="226"/>
                    </a:lnTo>
                    <a:lnTo>
                      <a:pt x="864" y="211"/>
                    </a:lnTo>
                    <a:lnTo>
                      <a:pt x="849" y="194"/>
                    </a:lnTo>
                    <a:lnTo>
                      <a:pt x="832" y="180"/>
                    </a:lnTo>
                    <a:lnTo>
                      <a:pt x="816" y="167"/>
                    </a:lnTo>
                    <a:lnTo>
                      <a:pt x="797" y="155"/>
                    </a:lnTo>
                    <a:lnTo>
                      <a:pt x="776" y="144"/>
                    </a:lnTo>
                    <a:lnTo>
                      <a:pt x="757" y="136"/>
                    </a:lnTo>
                    <a:lnTo>
                      <a:pt x="732" y="128"/>
                    </a:lnTo>
                    <a:lnTo>
                      <a:pt x="709" y="119"/>
                    </a:lnTo>
                    <a:lnTo>
                      <a:pt x="684" y="115"/>
                    </a:lnTo>
                    <a:lnTo>
                      <a:pt x="655" y="111"/>
                    </a:lnTo>
                    <a:lnTo>
                      <a:pt x="628" y="109"/>
                    </a:lnTo>
                    <a:lnTo>
                      <a:pt x="565" y="109"/>
                    </a:lnTo>
                    <a:lnTo>
                      <a:pt x="534" y="111"/>
                    </a:lnTo>
                    <a:lnTo>
                      <a:pt x="507" y="115"/>
                    </a:lnTo>
                    <a:lnTo>
                      <a:pt x="480" y="119"/>
                    </a:lnTo>
                    <a:lnTo>
                      <a:pt x="455" y="128"/>
                    </a:lnTo>
                    <a:lnTo>
                      <a:pt x="432" y="136"/>
                    </a:lnTo>
                    <a:lnTo>
                      <a:pt x="409" y="146"/>
                    </a:lnTo>
                    <a:lnTo>
                      <a:pt x="390" y="159"/>
                    </a:lnTo>
                    <a:lnTo>
                      <a:pt x="369" y="171"/>
                    </a:lnTo>
                    <a:lnTo>
                      <a:pt x="352" y="184"/>
                    </a:lnTo>
                    <a:lnTo>
                      <a:pt x="336" y="199"/>
                    </a:lnTo>
                    <a:lnTo>
                      <a:pt x="307" y="230"/>
                    </a:lnTo>
                    <a:lnTo>
                      <a:pt x="294" y="249"/>
                    </a:lnTo>
                    <a:lnTo>
                      <a:pt x="271" y="286"/>
                    </a:lnTo>
                    <a:lnTo>
                      <a:pt x="263" y="305"/>
                    </a:lnTo>
                    <a:lnTo>
                      <a:pt x="254" y="326"/>
                    </a:lnTo>
                    <a:lnTo>
                      <a:pt x="246" y="347"/>
                    </a:lnTo>
                    <a:lnTo>
                      <a:pt x="240" y="370"/>
                    </a:lnTo>
                    <a:lnTo>
                      <a:pt x="227" y="414"/>
                    </a:lnTo>
                    <a:lnTo>
                      <a:pt x="221" y="458"/>
                    </a:lnTo>
                    <a:lnTo>
                      <a:pt x="215" y="504"/>
                    </a:lnTo>
                    <a:lnTo>
                      <a:pt x="211" y="548"/>
                    </a:lnTo>
                    <a:lnTo>
                      <a:pt x="208" y="593"/>
                    </a:lnTo>
                    <a:lnTo>
                      <a:pt x="208" y="635"/>
                    </a:lnTo>
                    <a:lnTo>
                      <a:pt x="208" y="669"/>
                    </a:lnTo>
                    <a:lnTo>
                      <a:pt x="208" y="704"/>
                    </a:lnTo>
                    <a:lnTo>
                      <a:pt x="215" y="771"/>
                    </a:lnTo>
                    <a:lnTo>
                      <a:pt x="219" y="807"/>
                    </a:lnTo>
                    <a:lnTo>
                      <a:pt x="225" y="842"/>
                    </a:lnTo>
                    <a:lnTo>
                      <a:pt x="234" y="878"/>
                    </a:lnTo>
                    <a:lnTo>
                      <a:pt x="242" y="911"/>
                    </a:lnTo>
                    <a:lnTo>
                      <a:pt x="223" y="911"/>
                    </a:lnTo>
                    <a:lnTo>
                      <a:pt x="211" y="909"/>
                    </a:lnTo>
                    <a:lnTo>
                      <a:pt x="202" y="907"/>
                    </a:lnTo>
                    <a:lnTo>
                      <a:pt x="188" y="899"/>
                    </a:lnTo>
                    <a:lnTo>
                      <a:pt x="179" y="894"/>
                    </a:lnTo>
                    <a:lnTo>
                      <a:pt x="175" y="890"/>
                    </a:lnTo>
                    <a:lnTo>
                      <a:pt x="171" y="884"/>
                    </a:lnTo>
                    <a:lnTo>
                      <a:pt x="163" y="873"/>
                    </a:lnTo>
                    <a:lnTo>
                      <a:pt x="158" y="863"/>
                    </a:lnTo>
                    <a:lnTo>
                      <a:pt x="156" y="853"/>
                    </a:lnTo>
                    <a:lnTo>
                      <a:pt x="156" y="846"/>
                    </a:lnTo>
                    <a:lnTo>
                      <a:pt x="173" y="846"/>
                    </a:lnTo>
                    <a:lnTo>
                      <a:pt x="200" y="846"/>
                    </a:lnTo>
                    <a:lnTo>
                      <a:pt x="200" y="437"/>
                    </a:lnTo>
                    <a:lnTo>
                      <a:pt x="202" y="418"/>
                    </a:lnTo>
                    <a:lnTo>
                      <a:pt x="206" y="382"/>
                    </a:lnTo>
                    <a:lnTo>
                      <a:pt x="208" y="364"/>
                    </a:lnTo>
                    <a:lnTo>
                      <a:pt x="215" y="343"/>
                    </a:lnTo>
                    <a:lnTo>
                      <a:pt x="221" y="322"/>
                    </a:lnTo>
                    <a:lnTo>
                      <a:pt x="227" y="297"/>
                    </a:lnTo>
                    <a:lnTo>
                      <a:pt x="238" y="274"/>
                    </a:lnTo>
                    <a:lnTo>
                      <a:pt x="248" y="249"/>
                    </a:lnTo>
                    <a:lnTo>
                      <a:pt x="261" y="224"/>
                    </a:lnTo>
                    <a:lnTo>
                      <a:pt x="277" y="201"/>
                    </a:lnTo>
                    <a:lnTo>
                      <a:pt x="294" y="178"/>
                    </a:lnTo>
                    <a:lnTo>
                      <a:pt x="315" y="155"/>
                    </a:lnTo>
                    <a:lnTo>
                      <a:pt x="327" y="142"/>
                    </a:lnTo>
                    <a:lnTo>
                      <a:pt x="355" y="119"/>
                    </a:lnTo>
                    <a:lnTo>
                      <a:pt x="369" y="111"/>
                    </a:lnTo>
                    <a:lnTo>
                      <a:pt x="400" y="92"/>
                    </a:lnTo>
                    <a:lnTo>
                      <a:pt x="436" y="79"/>
                    </a:lnTo>
                    <a:lnTo>
                      <a:pt x="453" y="71"/>
                    </a:lnTo>
                    <a:lnTo>
                      <a:pt x="471" y="67"/>
                    </a:lnTo>
                    <a:lnTo>
                      <a:pt x="490" y="63"/>
                    </a:lnTo>
                    <a:lnTo>
                      <a:pt x="511" y="59"/>
                    </a:lnTo>
                    <a:lnTo>
                      <a:pt x="530" y="56"/>
                    </a:lnTo>
                    <a:lnTo>
                      <a:pt x="551" y="54"/>
                    </a:lnTo>
                    <a:lnTo>
                      <a:pt x="574" y="52"/>
                    </a:lnTo>
                    <a:lnTo>
                      <a:pt x="617" y="52"/>
                    </a:lnTo>
                    <a:lnTo>
                      <a:pt x="638" y="54"/>
                    </a:lnTo>
                    <a:lnTo>
                      <a:pt x="680" y="59"/>
                    </a:lnTo>
                    <a:lnTo>
                      <a:pt x="701" y="63"/>
                    </a:lnTo>
                    <a:lnTo>
                      <a:pt x="720" y="67"/>
                    </a:lnTo>
                    <a:lnTo>
                      <a:pt x="738" y="71"/>
                    </a:lnTo>
                    <a:lnTo>
                      <a:pt x="755" y="79"/>
                    </a:lnTo>
                    <a:lnTo>
                      <a:pt x="789" y="92"/>
                    </a:lnTo>
                    <a:lnTo>
                      <a:pt x="805" y="102"/>
                    </a:lnTo>
                    <a:lnTo>
                      <a:pt x="820" y="111"/>
                    </a:lnTo>
                    <a:lnTo>
                      <a:pt x="837" y="119"/>
                    </a:lnTo>
                    <a:lnTo>
                      <a:pt x="862" y="142"/>
                    </a:lnTo>
                    <a:lnTo>
                      <a:pt x="876" y="155"/>
                    </a:lnTo>
                    <a:lnTo>
                      <a:pt x="893" y="176"/>
                    </a:lnTo>
                    <a:lnTo>
                      <a:pt x="910" y="194"/>
                    </a:lnTo>
                    <a:lnTo>
                      <a:pt x="922" y="215"/>
                    </a:lnTo>
                    <a:lnTo>
                      <a:pt x="933" y="238"/>
                    </a:lnTo>
                    <a:lnTo>
                      <a:pt x="945" y="259"/>
                    </a:lnTo>
                    <a:lnTo>
                      <a:pt x="953" y="282"/>
                    </a:lnTo>
                    <a:lnTo>
                      <a:pt x="960" y="303"/>
                    </a:lnTo>
                    <a:lnTo>
                      <a:pt x="966" y="322"/>
                    </a:lnTo>
                    <a:lnTo>
                      <a:pt x="976" y="362"/>
                    </a:lnTo>
                    <a:lnTo>
                      <a:pt x="981" y="395"/>
                    </a:lnTo>
                    <a:lnTo>
                      <a:pt x="983" y="422"/>
                    </a:lnTo>
                    <a:lnTo>
                      <a:pt x="983" y="846"/>
                    </a:lnTo>
                    <a:lnTo>
                      <a:pt x="1010" y="846"/>
                    </a:lnTo>
                    <a:lnTo>
                      <a:pt x="1026" y="846"/>
                    </a:lnTo>
                    <a:lnTo>
                      <a:pt x="1043" y="842"/>
                    </a:lnTo>
                    <a:lnTo>
                      <a:pt x="1062" y="838"/>
                    </a:lnTo>
                    <a:lnTo>
                      <a:pt x="1079" y="830"/>
                    </a:lnTo>
                    <a:lnTo>
                      <a:pt x="1091" y="821"/>
                    </a:lnTo>
                    <a:lnTo>
                      <a:pt x="1108" y="811"/>
                    </a:lnTo>
                    <a:lnTo>
                      <a:pt x="1120" y="798"/>
                    </a:lnTo>
                    <a:lnTo>
                      <a:pt x="1133" y="784"/>
                    </a:lnTo>
                    <a:lnTo>
                      <a:pt x="1143" y="769"/>
                    </a:lnTo>
                    <a:lnTo>
                      <a:pt x="1154" y="752"/>
                    </a:lnTo>
                    <a:lnTo>
                      <a:pt x="1162" y="736"/>
                    </a:lnTo>
                    <a:lnTo>
                      <a:pt x="1170" y="717"/>
                    </a:lnTo>
                    <a:lnTo>
                      <a:pt x="1175" y="696"/>
                    </a:lnTo>
                    <a:lnTo>
                      <a:pt x="1179" y="675"/>
                    </a:lnTo>
                    <a:lnTo>
                      <a:pt x="1183" y="656"/>
                    </a:lnTo>
                    <a:lnTo>
                      <a:pt x="1183" y="633"/>
                    </a:lnTo>
                    <a:lnTo>
                      <a:pt x="1183" y="612"/>
                    </a:lnTo>
                    <a:lnTo>
                      <a:pt x="1181" y="593"/>
                    </a:lnTo>
                    <a:lnTo>
                      <a:pt x="1177" y="575"/>
                    </a:lnTo>
                    <a:close/>
                    <a:moveTo>
                      <a:pt x="148" y="790"/>
                    </a:moveTo>
                    <a:lnTo>
                      <a:pt x="138" y="788"/>
                    </a:lnTo>
                    <a:lnTo>
                      <a:pt x="127" y="782"/>
                    </a:lnTo>
                    <a:lnTo>
                      <a:pt x="119" y="775"/>
                    </a:lnTo>
                    <a:lnTo>
                      <a:pt x="110" y="769"/>
                    </a:lnTo>
                    <a:lnTo>
                      <a:pt x="94" y="754"/>
                    </a:lnTo>
                    <a:lnTo>
                      <a:pt x="87" y="746"/>
                    </a:lnTo>
                    <a:lnTo>
                      <a:pt x="79" y="733"/>
                    </a:lnTo>
                    <a:lnTo>
                      <a:pt x="75" y="723"/>
                    </a:lnTo>
                    <a:lnTo>
                      <a:pt x="69" y="713"/>
                    </a:lnTo>
                    <a:lnTo>
                      <a:pt x="65" y="700"/>
                    </a:lnTo>
                    <a:lnTo>
                      <a:pt x="60" y="687"/>
                    </a:lnTo>
                    <a:lnTo>
                      <a:pt x="56" y="675"/>
                    </a:lnTo>
                    <a:lnTo>
                      <a:pt x="56" y="660"/>
                    </a:lnTo>
                    <a:lnTo>
                      <a:pt x="52" y="648"/>
                    </a:lnTo>
                    <a:lnTo>
                      <a:pt x="52" y="621"/>
                    </a:lnTo>
                    <a:lnTo>
                      <a:pt x="56" y="606"/>
                    </a:lnTo>
                    <a:lnTo>
                      <a:pt x="56" y="593"/>
                    </a:lnTo>
                    <a:lnTo>
                      <a:pt x="60" y="579"/>
                    </a:lnTo>
                    <a:lnTo>
                      <a:pt x="65" y="566"/>
                    </a:lnTo>
                    <a:lnTo>
                      <a:pt x="69" y="554"/>
                    </a:lnTo>
                    <a:lnTo>
                      <a:pt x="75" y="543"/>
                    </a:lnTo>
                    <a:lnTo>
                      <a:pt x="79" y="533"/>
                    </a:lnTo>
                    <a:lnTo>
                      <a:pt x="87" y="522"/>
                    </a:lnTo>
                    <a:lnTo>
                      <a:pt x="94" y="514"/>
                    </a:lnTo>
                    <a:lnTo>
                      <a:pt x="110" y="497"/>
                    </a:lnTo>
                    <a:lnTo>
                      <a:pt x="119" y="491"/>
                    </a:lnTo>
                    <a:lnTo>
                      <a:pt x="138" y="481"/>
                    </a:lnTo>
                    <a:lnTo>
                      <a:pt x="148" y="476"/>
                    </a:lnTo>
                    <a:lnTo>
                      <a:pt x="148" y="790"/>
                    </a:lnTo>
                    <a:close/>
                    <a:moveTo>
                      <a:pt x="263" y="577"/>
                    </a:moveTo>
                    <a:lnTo>
                      <a:pt x="267" y="520"/>
                    </a:lnTo>
                    <a:lnTo>
                      <a:pt x="269" y="493"/>
                    </a:lnTo>
                    <a:lnTo>
                      <a:pt x="271" y="470"/>
                    </a:lnTo>
                    <a:lnTo>
                      <a:pt x="277" y="445"/>
                    </a:lnTo>
                    <a:lnTo>
                      <a:pt x="282" y="422"/>
                    </a:lnTo>
                    <a:lnTo>
                      <a:pt x="286" y="401"/>
                    </a:lnTo>
                    <a:lnTo>
                      <a:pt x="294" y="380"/>
                    </a:lnTo>
                    <a:lnTo>
                      <a:pt x="298" y="359"/>
                    </a:lnTo>
                    <a:lnTo>
                      <a:pt x="307" y="341"/>
                    </a:lnTo>
                    <a:lnTo>
                      <a:pt x="315" y="322"/>
                    </a:lnTo>
                    <a:lnTo>
                      <a:pt x="323" y="305"/>
                    </a:lnTo>
                    <a:lnTo>
                      <a:pt x="332" y="291"/>
                    </a:lnTo>
                    <a:lnTo>
                      <a:pt x="342" y="276"/>
                    </a:lnTo>
                    <a:lnTo>
                      <a:pt x="355" y="261"/>
                    </a:lnTo>
                    <a:lnTo>
                      <a:pt x="365" y="249"/>
                    </a:lnTo>
                    <a:lnTo>
                      <a:pt x="378" y="236"/>
                    </a:lnTo>
                    <a:lnTo>
                      <a:pt x="390" y="224"/>
                    </a:lnTo>
                    <a:lnTo>
                      <a:pt x="403" y="213"/>
                    </a:lnTo>
                    <a:lnTo>
                      <a:pt x="415" y="205"/>
                    </a:lnTo>
                    <a:lnTo>
                      <a:pt x="430" y="196"/>
                    </a:lnTo>
                    <a:lnTo>
                      <a:pt x="463" y="182"/>
                    </a:lnTo>
                    <a:lnTo>
                      <a:pt x="496" y="171"/>
                    </a:lnTo>
                    <a:lnTo>
                      <a:pt x="515" y="167"/>
                    </a:lnTo>
                    <a:lnTo>
                      <a:pt x="555" y="163"/>
                    </a:lnTo>
                    <a:lnTo>
                      <a:pt x="576" y="161"/>
                    </a:lnTo>
                    <a:lnTo>
                      <a:pt x="617" y="161"/>
                    </a:lnTo>
                    <a:lnTo>
                      <a:pt x="638" y="163"/>
                    </a:lnTo>
                    <a:lnTo>
                      <a:pt x="657" y="163"/>
                    </a:lnTo>
                    <a:lnTo>
                      <a:pt x="676" y="167"/>
                    </a:lnTo>
                    <a:lnTo>
                      <a:pt x="695" y="171"/>
                    </a:lnTo>
                    <a:lnTo>
                      <a:pt x="728" y="180"/>
                    </a:lnTo>
                    <a:lnTo>
                      <a:pt x="745" y="188"/>
                    </a:lnTo>
                    <a:lnTo>
                      <a:pt x="759" y="194"/>
                    </a:lnTo>
                    <a:lnTo>
                      <a:pt x="776" y="203"/>
                    </a:lnTo>
                    <a:lnTo>
                      <a:pt x="789" y="211"/>
                    </a:lnTo>
                    <a:lnTo>
                      <a:pt x="824" y="245"/>
                    </a:lnTo>
                    <a:lnTo>
                      <a:pt x="837" y="259"/>
                    </a:lnTo>
                    <a:lnTo>
                      <a:pt x="847" y="272"/>
                    </a:lnTo>
                    <a:lnTo>
                      <a:pt x="855" y="286"/>
                    </a:lnTo>
                    <a:lnTo>
                      <a:pt x="864" y="303"/>
                    </a:lnTo>
                    <a:lnTo>
                      <a:pt x="880" y="336"/>
                    </a:lnTo>
                    <a:lnTo>
                      <a:pt x="887" y="357"/>
                    </a:lnTo>
                    <a:lnTo>
                      <a:pt x="893" y="376"/>
                    </a:lnTo>
                    <a:lnTo>
                      <a:pt x="899" y="397"/>
                    </a:lnTo>
                    <a:lnTo>
                      <a:pt x="903" y="418"/>
                    </a:lnTo>
                    <a:lnTo>
                      <a:pt x="912" y="466"/>
                    </a:lnTo>
                    <a:lnTo>
                      <a:pt x="918" y="518"/>
                    </a:lnTo>
                    <a:lnTo>
                      <a:pt x="922" y="575"/>
                    </a:lnTo>
                    <a:lnTo>
                      <a:pt x="922" y="635"/>
                    </a:lnTo>
                    <a:lnTo>
                      <a:pt x="922" y="696"/>
                    </a:lnTo>
                    <a:lnTo>
                      <a:pt x="918" y="752"/>
                    </a:lnTo>
                    <a:lnTo>
                      <a:pt x="912" y="805"/>
                    </a:lnTo>
                    <a:lnTo>
                      <a:pt x="907" y="827"/>
                    </a:lnTo>
                    <a:lnTo>
                      <a:pt x="903" y="853"/>
                    </a:lnTo>
                    <a:lnTo>
                      <a:pt x="899" y="873"/>
                    </a:lnTo>
                    <a:lnTo>
                      <a:pt x="893" y="894"/>
                    </a:lnTo>
                    <a:lnTo>
                      <a:pt x="887" y="915"/>
                    </a:lnTo>
                    <a:lnTo>
                      <a:pt x="880" y="934"/>
                    </a:lnTo>
                    <a:lnTo>
                      <a:pt x="864" y="970"/>
                    </a:lnTo>
                    <a:lnTo>
                      <a:pt x="855" y="986"/>
                    </a:lnTo>
                    <a:lnTo>
                      <a:pt x="847" y="999"/>
                    </a:lnTo>
                    <a:lnTo>
                      <a:pt x="837" y="1013"/>
                    </a:lnTo>
                    <a:lnTo>
                      <a:pt x="824" y="1026"/>
                    </a:lnTo>
                    <a:lnTo>
                      <a:pt x="801" y="1049"/>
                    </a:lnTo>
                    <a:lnTo>
                      <a:pt x="789" y="1059"/>
                    </a:lnTo>
                    <a:lnTo>
                      <a:pt x="776" y="1070"/>
                    </a:lnTo>
                    <a:lnTo>
                      <a:pt x="745" y="1082"/>
                    </a:lnTo>
                    <a:lnTo>
                      <a:pt x="728" y="1089"/>
                    </a:lnTo>
                    <a:lnTo>
                      <a:pt x="713" y="1095"/>
                    </a:lnTo>
                    <a:lnTo>
                      <a:pt x="695" y="1101"/>
                    </a:lnTo>
                    <a:lnTo>
                      <a:pt x="676" y="1105"/>
                    </a:lnTo>
                    <a:lnTo>
                      <a:pt x="657" y="1107"/>
                    </a:lnTo>
                    <a:lnTo>
                      <a:pt x="638" y="1110"/>
                    </a:lnTo>
                    <a:lnTo>
                      <a:pt x="617" y="1110"/>
                    </a:lnTo>
                    <a:lnTo>
                      <a:pt x="572" y="1110"/>
                    </a:lnTo>
                    <a:lnTo>
                      <a:pt x="528" y="1105"/>
                    </a:lnTo>
                    <a:lnTo>
                      <a:pt x="505" y="1101"/>
                    </a:lnTo>
                    <a:lnTo>
                      <a:pt x="486" y="1097"/>
                    </a:lnTo>
                    <a:lnTo>
                      <a:pt x="465" y="1091"/>
                    </a:lnTo>
                    <a:lnTo>
                      <a:pt x="448" y="1082"/>
                    </a:lnTo>
                    <a:lnTo>
                      <a:pt x="430" y="1074"/>
                    </a:lnTo>
                    <a:lnTo>
                      <a:pt x="413" y="1066"/>
                    </a:lnTo>
                    <a:lnTo>
                      <a:pt x="398" y="1053"/>
                    </a:lnTo>
                    <a:lnTo>
                      <a:pt x="382" y="1041"/>
                    </a:lnTo>
                    <a:lnTo>
                      <a:pt x="355" y="1013"/>
                    </a:lnTo>
                    <a:lnTo>
                      <a:pt x="342" y="999"/>
                    </a:lnTo>
                    <a:lnTo>
                      <a:pt x="332" y="982"/>
                    </a:lnTo>
                    <a:lnTo>
                      <a:pt x="323" y="963"/>
                    </a:lnTo>
                    <a:lnTo>
                      <a:pt x="442" y="963"/>
                    </a:lnTo>
                    <a:lnTo>
                      <a:pt x="446" y="974"/>
                    </a:lnTo>
                    <a:lnTo>
                      <a:pt x="451" y="982"/>
                    </a:lnTo>
                    <a:lnTo>
                      <a:pt x="459" y="990"/>
                    </a:lnTo>
                    <a:lnTo>
                      <a:pt x="465" y="997"/>
                    </a:lnTo>
                    <a:lnTo>
                      <a:pt x="476" y="1001"/>
                    </a:lnTo>
                    <a:lnTo>
                      <a:pt x="486" y="1005"/>
                    </a:lnTo>
                    <a:lnTo>
                      <a:pt x="496" y="1009"/>
                    </a:lnTo>
                    <a:lnTo>
                      <a:pt x="507" y="1009"/>
                    </a:lnTo>
                    <a:lnTo>
                      <a:pt x="588" y="1009"/>
                    </a:lnTo>
                    <a:lnTo>
                      <a:pt x="603" y="1009"/>
                    </a:lnTo>
                    <a:lnTo>
                      <a:pt x="615" y="1005"/>
                    </a:lnTo>
                    <a:lnTo>
                      <a:pt x="626" y="999"/>
                    </a:lnTo>
                    <a:lnTo>
                      <a:pt x="636" y="990"/>
                    </a:lnTo>
                    <a:lnTo>
                      <a:pt x="645" y="980"/>
                    </a:lnTo>
                    <a:lnTo>
                      <a:pt x="651" y="970"/>
                    </a:lnTo>
                    <a:lnTo>
                      <a:pt x="655" y="955"/>
                    </a:lnTo>
                    <a:lnTo>
                      <a:pt x="655" y="942"/>
                    </a:lnTo>
                    <a:lnTo>
                      <a:pt x="655" y="932"/>
                    </a:lnTo>
                    <a:lnTo>
                      <a:pt x="655" y="917"/>
                    </a:lnTo>
                    <a:lnTo>
                      <a:pt x="651" y="905"/>
                    </a:lnTo>
                    <a:lnTo>
                      <a:pt x="645" y="894"/>
                    </a:lnTo>
                    <a:lnTo>
                      <a:pt x="636" y="884"/>
                    </a:lnTo>
                    <a:lnTo>
                      <a:pt x="626" y="876"/>
                    </a:lnTo>
                    <a:lnTo>
                      <a:pt x="615" y="869"/>
                    </a:lnTo>
                    <a:lnTo>
                      <a:pt x="603" y="865"/>
                    </a:lnTo>
                    <a:lnTo>
                      <a:pt x="588" y="865"/>
                    </a:lnTo>
                    <a:lnTo>
                      <a:pt x="496" y="865"/>
                    </a:lnTo>
                    <a:lnTo>
                      <a:pt x="486" y="867"/>
                    </a:lnTo>
                    <a:lnTo>
                      <a:pt x="476" y="871"/>
                    </a:lnTo>
                    <a:lnTo>
                      <a:pt x="465" y="878"/>
                    </a:lnTo>
                    <a:lnTo>
                      <a:pt x="451" y="890"/>
                    </a:lnTo>
                    <a:lnTo>
                      <a:pt x="446" y="901"/>
                    </a:lnTo>
                    <a:lnTo>
                      <a:pt x="442" y="911"/>
                    </a:lnTo>
                    <a:lnTo>
                      <a:pt x="298" y="911"/>
                    </a:lnTo>
                    <a:lnTo>
                      <a:pt x="290" y="882"/>
                    </a:lnTo>
                    <a:lnTo>
                      <a:pt x="282" y="853"/>
                    </a:lnTo>
                    <a:lnTo>
                      <a:pt x="275" y="821"/>
                    </a:lnTo>
                    <a:lnTo>
                      <a:pt x="271" y="788"/>
                    </a:lnTo>
                    <a:lnTo>
                      <a:pt x="267" y="752"/>
                    </a:lnTo>
                    <a:lnTo>
                      <a:pt x="263" y="715"/>
                    </a:lnTo>
                    <a:lnTo>
                      <a:pt x="263" y="675"/>
                    </a:lnTo>
                    <a:lnTo>
                      <a:pt x="261" y="635"/>
                    </a:lnTo>
                    <a:lnTo>
                      <a:pt x="263" y="577"/>
                    </a:lnTo>
                    <a:close/>
                    <a:moveTo>
                      <a:pt x="1131" y="648"/>
                    </a:moveTo>
                    <a:lnTo>
                      <a:pt x="1127" y="660"/>
                    </a:lnTo>
                    <a:lnTo>
                      <a:pt x="1127" y="675"/>
                    </a:lnTo>
                    <a:lnTo>
                      <a:pt x="1122" y="687"/>
                    </a:lnTo>
                    <a:lnTo>
                      <a:pt x="1118" y="700"/>
                    </a:lnTo>
                    <a:lnTo>
                      <a:pt x="1114" y="713"/>
                    </a:lnTo>
                    <a:lnTo>
                      <a:pt x="1110" y="723"/>
                    </a:lnTo>
                    <a:lnTo>
                      <a:pt x="1104" y="733"/>
                    </a:lnTo>
                    <a:lnTo>
                      <a:pt x="1097" y="746"/>
                    </a:lnTo>
                    <a:lnTo>
                      <a:pt x="1089" y="754"/>
                    </a:lnTo>
                    <a:lnTo>
                      <a:pt x="1074" y="769"/>
                    </a:lnTo>
                    <a:lnTo>
                      <a:pt x="1066" y="775"/>
                    </a:lnTo>
                    <a:lnTo>
                      <a:pt x="1056" y="782"/>
                    </a:lnTo>
                    <a:lnTo>
                      <a:pt x="1045" y="788"/>
                    </a:lnTo>
                    <a:lnTo>
                      <a:pt x="1035" y="790"/>
                    </a:lnTo>
                    <a:lnTo>
                      <a:pt x="1035" y="476"/>
                    </a:lnTo>
                    <a:lnTo>
                      <a:pt x="1045" y="481"/>
                    </a:lnTo>
                    <a:lnTo>
                      <a:pt x="1066" y="491"/>
                    </a:lnTo>
                    <a:lnTo>
                      <a:pt x="1074" y="497"/>
                    </a:lnTo>
                    <a:lnTo>
                      <a:pt x="1089" y="514"/>
                    </a:lnTo>
                    <a:lnTo>
                      <a:pt x="1097" y="522"/>
                    </a:lnTo>
                    <a:lnTo>
                      <a:pt x="1104" y="533"/>
                    </a:lnTo>
                    <a:lnTo>
                      <a:pt x="1110" y="543"/>
                    </a:lnTo>
                    <a:lnTo>
                      <a:pt x="1114" y="554"/>
                    </a:lnTo>
                    <a:lnTo>
                      <a:pt x="1118" y="566"/>
                    </a:lnTo>
                    <a:lnTo>
                      <a:pt x="1122" y="579"/>
                    </a:lnTo>
                    <a:lnTo>
                      <a:pt x="1127" y="593"/>
                    </a:lnTo>
                    <a:lnTo>
                      <a:pt x="1127" y="606"/>
                    </a:lnTo>
                    <a:lnTo>
                      <a:pt x="1131" y="621"/>
                    </a:lnTo>
                    <a:lnTo>
                      <a:pt x="1131" y="648"/>
                    </a:lnTo>
                    <a:close/>
                  </a:path>
                </a:pathLst>
              </a:custGeom>
              <a:grpFill/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Freeform 24">
                <a:extLst>
                  <a:ext uri="{FF2B5EF4-FFF2-40B4-BE49-F238E27FC236}">
                    <a16:creationId xmlns:a16="http://schemas.microsoft.com/office/drawing/2014/main" id="{E61AFB4F-43F2-4300-BAA7-3376324A7C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5" y="1138"/>
                <a:ext cx="1183" cy="1164"/>
              </a:xfrm>
              <a:custGeom>
                <a:avLst/>
                <a:gdLst>
                  <a:gd name="T0" fmla="*/ 1108 w 1183"/>
                  <a:gd name="T1" fmla="*/ 456 h 1164"/>
                  <a:gd name="T2" fmla="*/ 1018 w 1183"/>
                  <a:gd name="T3" fmla="*/ 309 h 1164"/>
                  <a:gd name="T4" fmla="*/ 933 w 1183"/>
                  <a:gd name="T5" fmla="*/ 140 h 1164"/>
                  <a:gd name="T6" fmla="*/ 757 w 1183"/>
                  <a:gd name="T7" fmla="*/ 21 h 1164"/>
                  <a:gd name="T8" fmla="*/ 547 w 1183"/>
                  <a:gd name="T9" fmla="*/ 0 h 1164"/>
                  <a:gd name="T10" fmla="*/ 378 w 1183"/>
                  <a:gd name="T11" fmla="*/ 46 h 1164"/>
                  <a:gd name="T12" fmla="*/ 242 w 1183"/>
                  <a:gd name="T13" fmla="*/ 159 h 1164"/>
                  <a:gd name="T14" fmla="*/ 154 w 1183"/>
                  <a:gd name="T15" fmla="*/ 366 h 1164"/>
                  <a:gd name="T16" fmla="*/ 52 w 1183"/>
                  <a:gd name="T17" fmla="*/ 479 h 1164"/>
                  <a:gd name="T18" fmla="*/ 0 w 1183"/>
                  <a:gd name="T19" fmla="*/ 612 h 1164"/>
                  <a:gd name="T20" fmla="*/ 44 w 1183"/>
                  <a:gd name="T21" fmla="*/ 775 h 1164"/>
                  <a:gd name="T22" fmla="*/ 104 w 1183"/>
                  <a:gd name="T23" fmla="*/ 853 h 1164"/>
                  <a:gd name="T24" fmla="*/ 158 w 1183"/>
                  <a:gd name="T25" fmla="*/ 942 h 1164"/>
                  <a:gd name="T26" fmla="*/ 284 w 1183"/>
                  <a:gd name="T27" fmla="*/ 1005 h 1164"/>
                  <a:gd name="T28" fmla="*/ 421 w 1183"/>
                  <a:gd name="T29" fmla="*/ 1130 h 1164"/>
                  <a:gd name="T30" fmla="*/ 655 w 1183"/>
                  <a:gd name="T31" fmla="*/ 1160 h 1164"/>
                  <a:gd name="T32" fmla="*/ 849 w 1183"/>
                  <a:gd name="T33" fmla="*/ 1076 h 1164"/>
                  <a:gd name="T34" fmla="*/ 943 w 1183"/>
                  <a:gd name="T35" fmla="*/ 911 h 1164"/>
                  <a:gd name="T36" fmla="*/ 970 w 1183"/>
                  <a:gd name="T37" fmla="*/ 495 h 1164"/>
                  <a:gd name="T38" fmla="*/ 912 w 1183"/>
                  <a:gd name="T39" fmla="*/ 278 h 1164"/>
                  <a:gd name="T40" fmla="*/ 776 w 1183"/>
                  <a:gd name="T41" fmla="*/ 144 h 1164"/>
                  <a:gd name="T42" fmla="*/ 534 w 1183"/>
                  <a:gd name="T43" fmla="*/ 111 h 1164"/>
                  <a:gd name="T44" fmla="*/ 352 w 1183"/>
                  <a:gd name="T45" fmla="*/ 184 h 1164"/>
                  <a:gd name="T46" fmla="*/ 240 w 1183"/>
                  <a:gd name="T47" fmla="*/ 370 h 1164"/>
                  <a:gd name="T48" fmla="*/ 208 w 1183"/>
                  <a:gd name="T49" fmla="*/ 704 h 1164"/>
                  <a:gd name="T50" fmla="*/ 202 w 1183"/>
                  <a:gd name="T51" fmla="*/ 907 h 1164"/>
                  <a:gd name="T52" fmla="*/ 156 w 1183"/>
                  <a:gd name="T53" fmla="*/ 846 h 1164"/>
                  <a:gd name="T54" fmla="*/ 221 w 1183"/>
                  <a:gd name="T55" fmla="*/ 322 h 1164"/>
                  <a:gd name="T56" fmla="*/ 327 w 1183"/>
                  <a:gd name="T57" fmla="*/ 142 h 1164"/>
                  <a:gd name="T58" fmla="*/ 511 w 1183"/>
                  <a:gd name="T59" fmla="*/ 59 h 1164"/>
                  <a:gd name="T60" fmla="*/ 720 w 1183"/>
                  <a:gd name="T61" fmla="*/ 67 h 1164"/>
                  <a:gd name="T62" fmla="*/ 876 w 1183"/>
                  <a:gd name="T63" fmla="*/ 155 h 1164"/>
                  <a:gd name="T64" fmla="*/ 966 w 1183"/>
                  <a:gd name="T65" fmla="*/ 322 h 1164"/>
                  <a:gd name="T66" fmla="*/ 1062 w 1183"/>
                  <a:gd name="T67" fmla="*/ 838 h 1164"/>
                  <a:gd name="T68" fmla="*/ 1162 w 1183"/>
                  <a:gd name="T69" fmla="*/ 736 h 1164"/>
                  <a:gd name="T70" fmla="*/ 1177 w 1183"/>
                  <a:gd name="T71" fmla="*/ 575 h 1164"/>
                  <a:gd name="T72" fmla="*/ 79 w 1183"/>
                  <a:gd name="T73" fmla="*/ 733 h 1164"/>
                  <a:gd name="T74" fmla="*/ 52 w 1183"/>
                  <a:gd name="T75" fmla="*/ 621 h 1164"/>
                  <a:gd name="T76" fmla="*/ 87 w 1183"/>
                  <a:gd name="T77" fmla="*/ 522 h 1164"/>
                  <a:gd name="T78" fmla="*/ 267 w 1183"/>
                  <a:gd name="T79" fmla="*/ 520 h 1164"/>
                  <a:gd name="T80" fmla="*/ 307 w 1183"/>
                  <a:gd name="T81" fmla="*/ 341 h 1164"/>
                  <a:gd name="T82" fmla="*/ 390 w 1183"/>
                  <a:gd name="T83" fmla="*/ 224 h 1164"/>
                  <a:gd name="T84" fmla="*/ 576 w 1183"/>
                  <a:gd name="T85" fmla="*/ 161 h 1164"/>
                  <a:gd name="T86" fmla="*/ 759 w 1183"/>
                  <a:gd name="T87" fmla="*/ 194 h 1164"/>
                  <a:gd name="T88" fmla="*/ 880 w 1183"/>
                  <a:gd name="T89" fmla="*/ 336 h 1164"/>
                  <a:gd name="T90" fmla="*/ 922 w 1183"/>
                  <a:gd name="T91" fmla="*/ 635 h 1164"/>
                  <a:gd name="T92" fmla="*/ 887 w 1183"/>
                  <a:gd name="T93" fmla="*/ 915 h 1164"/>
                  <a:gd name="T94" fmla="*/ 789 w 1183"/>
                  <a:gd name="T95" fmla="*/ 1059 h 1164"/>
                  <a:gd name="T96" fmla="*/ 638 w 1183"/>
                  <a:gd name="T97" fmla="*/ 1110 h 1164"/>
                  <a:gd name="T98" fmla="*/ 430 w 1183"/>
                  <a:gd name="T99" fmla="*/ 1074 h 1164"/>
                  <a:gd name="T100" fmla="*/ 442 w 1183"/>
                  <a:gd name="T101" fmla="*/ 963 h 1164"/>
                  <a:gd name="T102" fmla="*/ 507 w 1183"/>
                  <a:gd name="T103" fmla="*/ 1009 h 1164"/>
                  <a:gd name="T104" fmla="*/ 655 w 1183"/>
                  <a:gd name="T105" fmla="*/ 955 h 1164"/>
                  <a:gd name="T106" fmla="*/ 615 w 1183"/>
                  <a:gd name="T107" fmla="*/ 869 h 1164"/>
                  <a:gd name="T108" fmla="*/ 446 w 1183"/>
                  <a:gd name="T109" fmla="*/ 901 h 1164"/>
                  <a:gd name="T110" fmla="*/ 263 w 1183"/>
                  <a:gd name="T111" fmla="*/ 715 h 1164"/>
                  <a:gd name="T112" fmla="*/ 1118 w 1183"/>
                  <a:gd name="T113" fmla="*/ 700 h 1164"/>
                  <a:gd name="T114" fmla="*/ 1056 w 1183"/>
                  <a:gd name="T115" fmla="*/ 782 h 1164"/>
                  <a:gd name="T116" fmla="*/ 1097 w 1183"/>
                  <a:gd name="T117" fmla="*/ 522 h 1164"/>
                  <a:gd name="T118" fmla="*/ 1131 w 1183"/>
                  <a:gd name="T119" fmla="*/ 621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3" h="1164">
                    <a:moveTo>
                      <a:pt x="1177" y="575"/>
                    </a:moveTo>
                    <a:lnTo>
                      <a:pt x="1172" y="558"/>
                    </a:lnTo>
                    <a:lnTo>
                      <a:pt x="1166" y="539"/>
                    </a:lnTo>
                    <a:lnTo>
                      <a:pt x="1158" y="525"/>
                    </a:lnTo>
                    <a:lnTo>
                      <a:pt x="1150" y="508"/>
                    </a:lnTo>
                    <a:lnTo>
                      <a:pt x="1141" y="493"/>
                    </a:lnTo>
                    <a:lnTo>
                      <a:pt x="1118" y="466"/>
                    </a:lnTo>
                    <a:lnTo>
                      <a:pt x="1108" y="456"/>
                    </a:lnTo>
                    <a:lnTo>
                      <a:pt x="1093" y="445"/>
                    </a:lnTo>
                    <a:lnTo>
                      <a:pt x="1066" y="430"/>
                    </a:lnTo>
                    <a:lnTo>
                      <a:pt x="1051" y="426"/>
                    </a:lnTo>
                    <a:lnTo>
                      <a:pt x="1035" y="422"/>
                    </a:lnTo>
                    <a:lnTo>
                      <a:pt x="1033" y="397"/>
                    </a:lnTo>
                    <a:lnTo>
                      <a:pt x="1028" y="366"/>
                    </a:lnTo>
                    <a:lnTo>
                      <a:pt x="1022" y="330"/>
                    </a:lnTo>
                    <a:lnTo>
                      <a:pt x="1018" y="309"/>
                    </a:lnTo>
                    <a:lnTo>
                      <a:pt x="1012" y="288"/>
                    </a:lnTo>
                    <a:lnTo>
                      <a:pt x="1003" y="268"/>
                    </a:lnTo>
                    <a:lnTo>
                      <a:pt x="995" y="247"/>
                    </a:lnTo>
                    <a:lnTo>
                      <a:pt x="987" y="224"/>
                    </a:lnTo>
                    <a:lnTo>
                      <a:pt x="976" y="203"/>
                    </a:lnTo>
                    <a:lnTo>
                      <a:pt x="962" y="180"/>
                    </a:lnTo>
                    <a:lnTo>
                      <a:pt x="947" y="159"/>
                    </a:lnTo>
                    <a:lnTo>
                      <a:pt x="933" y="140"/>
                    </a:lnTo>
                    <a:lnTo>
                      <a:pt x="914" y="119"/>
                    </a:lnTo>
                    <a:lnTo>
                      <a:pt x="899" y="105"/>
                    </a:lnTo>
                    <a:lnTo>
                      <a:pt x="885" y="92"/>
                    </a:lnTo>
                    <a:lnTo>
                      <a:pt x="851" y="67"/>
                    </a:lnTo>
                    <a:lnTo>
                      <a:pt x="814" y="46"/>
                    </a:lnTo>
                    <a:lnTo>
                      <a:pt x="797" y="38"/>
                    </a:lnTo>
                    <a:lnTo>
                      <a:pt x="776" y="29"/>
                    </a:lnTo>
                    <a:lnTo>
                      <a:pt x="757" y="21"/>
                    </a:lnTo>
                    <a:lnTo>
                      <a:pt x="736" y="17"/>
                    </a:lnTo>
                    <a:lnTo>
                      <a:pt x="713" y="11"/>
                    </a:lnTo>
                    <a:lnTo>
                      <a:pt x="690" y="8"/>
                    </a:lnTo>
                    <a:lnTo>
                      <a:pt x="668" y="4"/>
                    </a:lnTo>
                    <a:lnTo>
                      <a:pt x="645" y="0"/>
                    </a:lnTo>
                    <a:lnTo>
                      <a:pt x="620" y="0"/>
                    </a:lnTo>
                    <a:lnTo>
                      <a:pt x="572" y="0"/>
                    </a:lnTo>
                    <a:lnTo>
                      <a:pt x="547" y="0"/>
                    </a:lnTo>
                    <a:lnTo>
                      <a:pt x="524" y="4"/>
                    </a:lnTo>
                    <a:lnTo>
                      <a:pt x="499" y="8"/>
                    </a:lnTo>
                    <a:lnTo>
                      <a:pt x="478" y="11"/>
                    </a:lnTo>
                    <a:lnTo>
                      <a:pt x="457" y="17"/>
                    </a:lnTo>
                    <a:lnTo>
                      <a:pt x="436" y="21"/>
                    </a:lnTo>
                    <a:lnTo>
                      <a:pt x="415" y="29"/>
                    </a:lnTo>
                    <a:lnTo>
                      <a:pt x="394" y="36"/>
                    </a:lnTo>
                    <a:lnTo>
                      <a:pt x="378" y="46"/>
                    </a:lnTo>
                    <a:lnTo>
                      <a:pt x="359" y="56"/>
                    </a:lnTo>
                    <a:lnTo>
                      <a:pt x="340" y="67"/>
                    </a:lnTo>
                    <a:lnTo>
                      <a:pt x="323" y="79"/>
                    </a:lnTo>
                    <a:lnTo>
                      <a:pt x="307" y="92"/>
                    </a:lnTo>
                    <a:lnTo>
                      <a:pt x="292" y="105"/>
                    </a:lnTo>
                    <a:lnTo>
                      <a:pt x="275" y="117"/>
                    </a:lnTo>
                    <a:lnTo>
                      <a:pt x="259" y="138"/>
                    </a:lnTo>
                    <a:lnTo>
                      <a:pt x="242" y="159"/>
                    </a:lnTo>
                    <a:lnTo>
                      <a:pt x="227" y="180"/>
                    </a:lnTo>
                    <a:lnTo>
                      <a:pt x="213" y="201"/>
                    </a:lnTo>
                    <a:lnTo>
                      <a:pt x="192" y="247"/>
                    </a:lnTo>
                    <a:lnTo>
                      <a:pt x="183" y="268"/>
                    </a:lnTo>
                    <a:lnTo>
                      <a:pt x="175" y="288"/>
                    </a:lnTo>
                    <a:lnTo>
                      <a:pt x="169" y="309"/>
                    </a:lnTo>
                    <a:lnTo>
                      <a:pt x="163" y="328"/>
                    </a:lnTo>
                    <a:lnTo>
                      <a:pt x="154" y="366"/>
                    </a:lnTo>
                    <a:lnTo>
                      <a:pt x="150" y="397"/>
                    </a:lnTo>
                    <a:lnTo>
                      <a:pt x="150" y="422"/>
                    </a:lnTo>
                    <a:lnTo>
                      <a:pt x="133" y="426"/>
                    </a:lnTo>
                    <a:lnTo>
                      <a:pt x="104" y="437"/>
                    </a:lnTo>
                    <a:lnTo>
                      <a:pt x="90" y="445"/>
                    </a:lnTo>
                    <a:lnTo>
                      <a:pt x="77" y="456"/>
                    </a:lnTo>
                    <a:lnTo>
                      <a:pt x="65" y="466"/>
                    </a:lnTo>
                    <a:lnTo>
                      <a:pt x="52" y="479"/>
                    </a:lnTo>
                    <a:lnTo>
                      <a:pt x="44" y="493"/>
                    </a:lnTo>
                    <a:lnTo>
                      <a:pt x="33" y="508"/>
                    </a:lnTo>
                    <a:lnTo>
                      <a:pt x="25" y="525"/>
                    </a:lnTo>
                    <a:lnTo>
                      <a:pt x="17" y="539"/>
                    </a:lnTo>
                    <a:lnTo>
                      <a:pt x="12" y="556"/>
                    </a:lnTo>
                    <a:lnTo>
                      <a:pt x="6" y="575"/>
                    </a:lnTo>
                    <a:lnTo>
                      <a:pt x="4" y="593"/>
                    </a:lnTo>
                    <a:lnTo>
                      <a:pt x="0" y="612"/>
                    </a:lnTo>
                    <a:lnTo>
                      <a:pt x="0" y="648"/>
                    </a:lnTo>
                    <a:lnTo>
                      <a:pt x="2" y="665"/>
                    </a:lnTo>
                    <a:lnTo>
                      <a:pt x="4" y="681"/>
                    </a:lnTo>
                    <a:lnTo>
                      <a:pt x="12" y="710"/>
                    </a:lnTo>
                    <a:lnTo>
                      <a:pt x="17" y="723"/>
                    </a:lnTo>
                    <a:lnTo>
                      <a:pt x="27" y="752"/>
                    </a:lnTo>
                    <a:lnTo>
                      <a:pt x="35" y="763"/>
                    </a:lnTo>
                    <a:lnTo>
                      <a:pt x="44" y="775"/>
                    </a:lnTo>
                    <a:lnTo>
                      <a:pt x="52" y="786"/>
                    </a:lnTo>
                    <a:lnTo>
                      <a:pt x="62" y="796"/>
                    </a:lnTo>
                    <a:lnTo>
                      <a:pt x="71" y="805"/>
                    </a:lnTo>
                    <a:lnTo>
                      <a:pt x="81" y="815"/>
                    </a:lnTo>
                    <a:lnTo>
                      <a:pt x="92" y="821"/>
                    </a:lnTo>
                    <a:lnTo>
                      <a:pt x="102" y="827"/>
                    </a:lnTo>
                    <a:lnTo>
                      <a:pt x="102" y="840"/>
                    </a:lnTo>
                    <a:lnTo>
                      <a:pt x="104" y="853"/>
                    </a:lnTo>
                    <a:lnTo>
                      <a:pt x="104" y="863"/>
                    </a:lnTo>
                    <a:lnTo>
                      <a:pt x="106" y="873"/>
                    </a:lnTo>
                    <a:lnTo>
                      <a:pt x="110" y="886"/>
                    </a:lnTo>
                    <a:lnTo>
                      <a:pt x="117" y="901"/>
                    </a:lnTo>
                    <a:lnTo>
                      <a:pt x="125" y="913"/>
                    </a:lnTo>
                    <a:lnTo>
                      <a:pt x="138" y="926"/>
                    </a:lnTo>
                    <a:lnTo>
                      <a:pt x="146" y="936"/>
                    </a:lnTo>
                    <a:lnTo>
                      <a:pt x="158" y="942"/>
                    </a:lnTo>
                    <a:lnTo>
                      <a:pt x="167" y="949"/>
                    </a:lnTo>
                    <a:lnTo>
                      <a:pt x="179" y="955"/>
                    </a:lnTo>
                    <a:lnTo>
                      <a:pt x="192" y="957"/>
                    </a:lnTo>
                    <a:lnTo>
                      <a:pt x="206" y="961"/>
                    </a:lnTo>
                    <a:lnTo>
                      <a:pt x="221" y="963"/>
                    </a:lnTo>
                    <a:lnTo>
                      <a:pt x="263" y="963"/>
                    </a:lnTo>
                    <a:lnTo>
                      <a:pt x="271" y="986"/>
                    </a:lnTo>
                    <a:lnTo>
                      <a:pt x="284" y="1005"/>
                    </a:lnTo>
                    <a:lnTo>
                      <a:pt x="294" y="1024"/>
                    </a:lnTo>
                    <a:lnTo>
                      <a:pt x="311" y="1043"/>
                    </a:lnTo>
                    <a:lnTo>
                      <a:pt x="325" y="1059"/>
                    </a:lnTo>
                    <a:lnTo>
                      <a:pt x="342" y="1076"/>
                    </a:lnTo>
                    <a:lnTo>
                      <a:pt x="359" y="1093"/>
                    </a:lnTo>
                    <a:lnTo>
                      <a:pt x="378" y="1107"/>
                    </a:lnTo>
                    <a:lnTo>
                      <a:pt x="400" y="1120"/>
                    </a:lnTo>
                    <a:lnTo>
                      <a:pt x="421" y="1130"/>
                    </a:lnTo>
                    <a:lnTo>
                      <a:pt x="446" y="1141"/>
                    </a:lnTo>
                    <a:lnTo>
                      <a:pt x="473" y="1149"/>
                    </a:lnTo>
                    <a:lnTo>
                      <a:pt x="501" y="1156"/>
                    </a:lnTo>
                    <a:lnTo>
                      <a:pt x="532" y="1160"/>
                    </a:lnTo>
                    <a:lnTo>
                      <a:pt x="563" y="1162"/>
                    </a:lnTo>
                    <a:lnTo>
                      <a:pt x="597" y="1164"/>
                    </a:lnTo>
                    <a:lnTo>
                      <a:pt x="628" y="1164"/>
                    </a:lnTo>
                    <a:lnTo>
                      <a:pt x="655" y="1160"/>
                    </a:lnTo>
                    <a:lnTo>
                      <a:pt x="684" y="1156"/>
                    </a:lnTo>
                    <a:lnTo>
                      <a:pt x="709" y="1151"/>
                    </a:lnTo>
                    <a:lnTo>
                      <a:pt x="757" y="1137"/>
                    </a:lnTo>
                    <a:lnTo>
                      <a:pt x="776" y="1126"/>
                    </a:lnTo>
                    <a:lnTo>
                      <a:pt x="797" y="1116"/>
                    </a:lnTo>
                    <a:lnTo>
                      <a:pt x="816" y="1103"/>
                    </a:lnTo>
                    <a:lnTo>
                      <a:pt x="832" y="1091"/>
                    </a:lnTo>
                    <a:lnTo>
                      <a:pt x="849" y="1076"/>
                    </a:lnTo>
                    <a:lnTo>
                      <a:pt x="864" y="1062"/>
                    </a:lnTo>
                    <a:lnTo>
                      <a:pt x="876" y="1045"/>
                    </a:lnTo>
                    <a:lnTo>
                      <a:pt x="901" y="1011"/>
                    </a:lnTo>
                    <a:lnTo>
                      <a:pt x="912" y="990"/>
                    </a:lnTo>
                    <a:lnTo>
                      <a:pt x="922" y="974"/>
                    </a:lnTo>
                    <a:lnTo>
                      <a:pt x="930" y="951"/>
                    </a:lnTo>
                    <a:lnTo>
                      <a:pt x="937" y="932"/>
                    </a:lnTo>
                    <a:lnTo>
                      <a:pt x="943" y="911"/>
                    </a:lnTo>
                    <a:lnTo>
                      <a:pt x="949" y="888"/>
                    </a:lnTo>
                    <a:lnTo>
                      <a:pt x="955" y="867"/>
                    </a:lnTo>
                    <a:lnTo>
                      <a:pt x="964" y="821"/>
                    </a:lnTo>
                    <a:lnTo>
                      <a:pt x="970" y="775"/>
                    </a:lnTo>
                    <a:lnTo>
                      <a:pt x="972" y="729"/>
                    </a:lnTo>
                    <a:lnTo>
                      <a:pt x="976" y="635"/>
                    </a:lnTo>
                    <a:lnTo>
                      <a:pt x="972" y="541"/>
                    </a:lnTo>
                    <a:lnTo>
                      <a:pt x="970" y="495"/>
                    </a:lnTo>
                    <a:lnTo>
                      <a:pt x="964" y="449"/>
                    </a:lnTo>
                    <a:lnTo>
                      <a:pt x="955" y="405"/>
                    </a:lnTo>
                    <a:lnTo>
                      <a:pt x="949" y="382"/>
                    </a:lnTo>
                    <a:lnTo>
                      <a:pt x="943" y="359"/>
                    </a:lnTo>
                    <a:lnTo>
                      <a:pt x="937" y="339"/>
                    </a:lnTo>
                    <a:lnTo>
                      <a:pt x="930" y="318"/>
                    </a:lnTo>
                    <a:lnTo>
                      <a:pt x="922" y="299"/>
                    </a:lnTo>
                    <a:lnTo>
                      <a:pt x="912" y="278"/>
                    </a:lnTo>
                    <a:lnTo>
                      <a:pt x="901" y="261"/>
                    </a:lnTo>
                    <a:lnTo>
                      <a:pt x="876" y="226"/>
                    </a:lnTo>
                    <a:lnTo>
                      <a:pt x="864" y="211"/>
                    </a:lnTo>
                    <a:lnTo>
                      <a:pt x="849" y="194"/>
                    </a:lnTo>
                    <a:lnTo>
                      <a:pt x="832" y="180"/>
                    </a:lnTo>
                    <a:lnTo>
                      <a:pt x="816" y="167"/>
                    </a:lnTo>
                    <a:lnTo>
                      <a:pt x="797" y="155"/>
                    </a:lnTo>
                    <a:lnTo>
                      <a:pt x="776" y="144"/>
                    </a:lnTo>
                    <a:lnTo>
                      <a:pt x="757" y="136"/>
                    </a:lnTo>
                    <a:lnTo>
                      <a:pt x="732" y="128"/>
                    </a:lnTo>
                    <a:lnTo>
                      <a:pt x="709" y="119"/>
                    </a:lnTo>
                    <a:lnTo>
                      <a:pt x="684" y="115"/>
                    </a:lnTo>
                    <a:lnTo>
                      <a:pt x="655" y="111"/>
                    </a:lnTo>
                    <a:lnTo>
                      <a:pt x="628" y="109"/>
                    </a:lnTo>
                    <a:lnTo>
                      <a:pt x="565" y="109"/>
                    </a:lnTo>
                    <a:lnTo>
                      <a:pt x="534" y="111"/>
                    </a:lnTo>
                    <a:lnTo>
                      <a:pt x="507" y="115"/>
                    </a:lnTo>
                    <a:lnTo>
                      <a:pt x="480" y="119"/>
                    </a:lnTo>
                    <a:lnTo>
                      <a:pt x="455" y="128"/>
                    </a:lnTo>
                    <a:lnTo>
                      <a:pt x="432" y="136"/>
                    </a:lnTo>
                    <a:lnTo>
                      <a:pt x="409" y="146"/>
                    </a:lnTo>
                    <a:lnTo>
                      <a:pt x="390" y="159"/>
                    </a:lnTo>
                    <a:lnTo>
                      <a:pt x="369" y="171"/>
                    </a:lnTo>
                    <a:lnTo>
                      <a:pt x="352" y="184"/>
                    </a:lnTo>
                    <a:lnTo>
                      <a:pt x="336" y="199"/>
                    </a:lnTo>
                    <a:lnTo>
                      <a:pt x="307" y="230"/>
                    </a:lnTo>
                    <a:lnTo>
                      <a:pt x="294" y="249"/>
                    </a:lnTo>
                    <a:lnTo>
                      <a:pt x="271" y="286"/>
                    </a:lnTo>
                    <a:lnTo>
                      <a:pt x="263" y="305"/>
                    </a:lnTo>
                    <a:lnTo>
                      <a:pt x="254" y="326"/>
                    </a:lnTo>
                    <a:lnTo>
                      <a:pt x="246" y="347"/>
                    </a:lnTo>
                    <a:lnTo>
                      <a:pt x="240" y="370"/>
                    </a:lnTo>
                    <a:lnTo>
                      <a:pt x="227" y="414"/>
                    </a:lnTo>
                    <a:lnTo>
                      <a:pt x="221" y="458"/>
                    </a:lnTo>
                    <a:lnTo>
                      <a:pt x="215" y="504"/>
                    </a:lnTo>
                    <a:lnTo>
                      <a:pt x="211" y="548"/>
                    </a:lnTo>
                    <a:lnTo>
                      <a:pt x="208" y="593"/>
                    </a:lnTo>
                    <a:lnTo>
                      <a:pt x="208" y="635"/>
                    </a:lnTo>
                    <a:lnTo>
                      <a:pt x="208" y="669"/>
                    </a:lnTo>
                    <a:lnTo>
                      <a:pt x="208" y="704"/>
                    </a:lnTo>
                    <a:lnTo>
                      <a:pt x="215" y="771"/>
                    </a:lnTo>
                    <a:lnTo>
                      <a:pt x="219" y="807"/>
                    </a:lnTo>
                    <a:lnTo>
                      <a:pt x="225" y="842"/>
                    </a:lnTo>
                    <a:lnTo>
                      <a:pt x="234" y="878"/>
                    </a:lnTo>
                    <a:lnTo>
                      <a:pt x="242" y="911"/>
                    </a:lnTo>
                    <a:lnTo>
                      <a:pt x="223" y="911"/>
                    </a:lnTo>
                    <a:lnTo>
                      <a:pt x="211" y="909"/>
                    </a:lnTo>
                    <a:lnTo>
                      <a:pt x="202" y="907"/>
                    </a:lnTo>
                    <a:lnTo>
                      <a:pt x="188" y="899"/>
                    </a:lnTo>
                    <a:lnTo>
                      <a:pt x="179" y="894"/>
                    </a:lnTo>
                    <a:lnTo>
                      <a:pt x="175" y="890"/>
                    </a:lnTo>
                    <a:lnTo>
                      <a:pt x="171" y="884"/>
                    </a:lnTo>
                    <a:lnTo>
                      <a:pt x="163" y="873"/>
                    </a:lnTo>
                    <a:lnTo>
                      <a:pt x="158" y="863"/>
                    </a:lnTo>
                    <a:lnTo>
                      <a:pt x="156" y="853"/>
                    </a:lnTo>
                    <a:lnTo>
                      <a:pt x="156" y="846"/>
                    </a:lnTo>
                    <a:lnTo>
                      <a:pt x="173" y="846"/>
                    </a:lnTo>
                    <a:lnTo>
                      <a:pt x="200" y="846"/>
                    </a:lnTo>
                    <a:lnTo>
                      <a:pt x="200" y="437"/>
                    </a:lnTo>
                    <a:lnTo>
                      <a:pt x="202" y="418"/>
                    </a:lnTo>
                    <a:lnTo>
                      <a:pt x="206" y="382"/>
                    </a:lnTo>
                    <a:lnTo>
                      <a:pt x="208" y="364"/>
                    </a:lnTo>
                    <a:lnTo>
                      <a:pt x="215" y="343"/>
                    </a:lnTo>
                    <a:lnTo>
                      <a:pt x="221" y="322"/>
                    </a:lnTo>
                    <a:lnTo>
                      <a:pt x="227" y="297"/>
                    </a:lnTo>
                    <a:lnTo>
                      <a:pt x="238" y="274"/>
                    </a:lnTo>
                    <a:lnTo>
                      <a:pt x="248" y="249"/>
                    </a:lnTo>
                    <a:lnTo>
                      <a:pt x="261" y="224"/>
                    </a:lnTo>
                    <a:lnTo>
                      <a:pt x="277" y="201"/>
                    </a:lnTo>
                    <a:lnTo>
                      <a:pt x="294" y="178"/>
                    </a:lnTo>
                    <a:lnTo>
                      <a:pt x="315" y="155"/>
                    </a:lnTo>
                    <a:lnTo>
                      <a:pt x="327" y="142"/>
                    </a:lnTo>
                    <a:lnTo>
                      <a:pt x="355" y="119"/>
                    </a:lnTo>
                    <a:lnTo>
                      <a:pt x="369" y="111"/>
                    </a:lnTo>
                    <a:lnTo>
                      <a:pt x="400" y="92"/>
                    </a:lnTo>
                    <a:lnTo>
                      <a:pt x="436" y="79"/>
                    </a:lnTo>
                    <a:lnTo>
                      <a:pt x="453" y="71"/>
                    </a:lnTo>
                    <a:lnTo>
                      <a:pt x="471" y="67"/>
                    </a:lnTo>
                    <a:lnTo>
                      <a:pt x="490" y="63"/>
                    </a:lnTo>
                    <a:lnTo>
                      <a:pt x="511" y="59"/>
                    </a:lnTo>
                    <a:lnTo>
                      <a:pt x="530" y="56"/>
                    </a:lnTo>
                    <a:lnTo>
                      <a:pt x="551" y="54"/>
                    </a:lnTo>
                    <a:lnTo>
                      <a:pt x="574" y="52"/>
                    </a:lnTo>
                    <a:lnTo>
                      <a:pt x="617" y="52"/>
                    </a:lnTo>
                    <a:lnTo>
                      <a:pt x="638" y="54"/>
                    </a:lnTo>
                    <a:lnTo>
                      <a:pt x="680" y="59"/>
                    </a:lnTo>
                    <a:lnTo>
                      <a:pt x="701" y="63"/>
                    </a:lnTo>
                    <a:lnTo>
                      <a:pt x="720" y="67"/>
                    </a:lnTo>
                    <a:lnTo>
                      <a:pt x="738" y="71"/>
                    </a:lnTo>
                    <a:lnTo>
                      <a:pt x="755" y="79"/>
                    </a:lnTo>
                    <a:lnTo>
                      <a:pt x="789" y="92"/>
                    </a:lnTo>
                    <a:lnTo>
                      <a:pt x="805" y="102"/>
                    </a:lnTo>
                    <a:lnTo>
                      <a:pt x="820" y="111"/>
                    </a:lnTo>
                    <a:lnTo>
                      <a:pt x="837" y="119"/>
                    </a:lnTo>
                    <a:lnTo>
                      <a:pt x="862" y="142"/>
                    </a:lnTo>
                    <a:lnTo>
                      <a:pt x="876" y="155"/>
                    </a:lnTo>
                    <a:lnTo>
                      <a:pt x="893" y="176"/>
                    </a:lnTo>
                    <a:lnTo>
                      <a:pt x="910" y="194"/>
                    </a:lnTo>
                    <a:lnTo>
                      <a:pt x="922" y="215"/>
                    </a:lnTo>
                    <a:lnTo>
                      <a:pt x="933" y="238"/>
                    </a:lnTo>
                    <a:lnTo>
                      <a:pt x="945" y="259"/>
                    </a:lnTo>
                    <a:lnTo>
                      <a:pt x="953" y="282"/>
                    </a:lnTo>
                    <a:lnTo>
                      <a:pt x="960" y="303"/>
                    </a:lnTo>
                    <a:lnTo>
                      <a:pt x="966" y="322"/>
                    </a:lnTo>
                    <a:lnTo>
                      <a:pt x="976" y="362"/>
                    </a:lnTo>
                    <a:lnTo>
                      <a:pt x="981" y="395"/>
                    </a:lnTo>
                    <a:lnTo>
                      <a:pt x="983" y="422"/>
                    </a:lnTo>
                    <a:lnTo>
                      <a:pt x="983" y="846"/>
                    </a:lnTo>
                    <a:lnTo>
                      <a:pt x="1010" y="846"/>
                    </a:lnTo>
                    <a:lnTo>
                      <a:pt x="1026" y="846"/>
                    </a:lnTo>
                    <a:lnTo>
                      <a:pt x="1043" y="842"/>
                    </a:lnTo>
                    <a:lnTo>
                      <a:pt x="1062" y="838"/>
                    </a:lnTo>
                    <a:lnTo>
                      <a:pt x="1079" y="830"/>
                    </a:lnTo>
                    <a:lnTo>
                      <a:pt x="1091" y="821"/>
                    </a:lnTo>
                    <a:lnTo>
                      <a:pt x="1108" y="811"/>
                    </a:lnTo>
                    <a:lnTo>
                      <a:pt x="1120" y="798"/>
                    </a:lnTo>
                    <a:lnTo>
                      <a:pt x="1133" y="784"/>
                    </a:lnTo>
                    <a:lnTo>
                      <a:pt x="1143" y="769"/>
                    </a:lnTo>
                    <a:lnTo>
                      <a:pt x="1154" y="752"/>
                    </a:lnTo>
                    <a:lnTo>
                      <a:pt x="1162" y="736"/>
                    </a:lnTo>
                    <a:lnTo>
                      <a:pt x="1170" y="717"/>
                    </a:lnTo>
                    <a:lnTo>
                      <a:pt x="1175" y="696"/>
                    </a:lnTo>
                    <a:lnTo>
                      <a:pt x="1179" y="675"/>
                    </a:lnTo>
                    <a:lnTo>
                      <a:pt x="1183" y="656"/>
                    </a:lnTo>
                    <a:lnTo>
                      <a:pt x="1183" y="633"/>
                    </a:lnTo>
                    <a:lnTo>
                      <a:pt x="1183" y="612"/>
                    </a:lnTo>
                    <a:lnTo>
                      <a:pt x="1181" y="593"/>
                    </a:lnTo>
                    <a:lnTo>
                      <a:pt x="1177" y="575"/>
                    </a:lnTo>
                    <a:close/>
                    <a:moveTo>
                      <a:pt x="148" y="790"/>
                    </a:moveTo>
                    <a:lnTo>
                      <a:pt x="138" y="788"/>
                    </a:lnTo>
                    <a:lnTo>
                      <a:pt x="127" y="782"/>
                    </a:lnTo>
                    <a:lnTo>
                      <a:pt x="119" y="775"/>
                    </a:lnTo>
                    <a:lnTo>
                      <a:pt x="110" y="769"/>
                    </a:lnTo>
                    <a:lnTo>
                      <a:pt x="94" y="754"/>
                    </a:lnTo>
                    <a:lnTo>
                      <a:pt x="87" y="746"/>
                    </a:lnTo>
                    <a:lnTo>
                      <a:pt x="79" y="733"/>
                    </a:lnTo>
                    <a:lnTo>
                      <a:pt x="75" y="723"/>
                    </a:lnTo>
                    <a:lnTo>
                      <a:pt x="69" y="713"/>
                    </a:lnTo>
                    <a:lnTo>
                      <a:pt x="65" y="700"/>
                    </a:lnTo>
                    <a:lnTo>
                      <a:pt x="60" y="687"/>
                    </a:lnTo>
                    <a:lnTo>
                      <a:pt x="56" y="675"/>
                    </a:lnTo>
                    <a:lnTo>
                      <a:pt x="56" y="660"/>
                    </a:lnTo>
                    <a:lnTo>
                      <a:pt x="52" y="648"/>
                    </a:lnTo>
                    <a:lnTo>
                      <a:pt x="52" y="621"/>
                    </a:lnTo>
                    <a:lnTo>
                      <a:pt x="56" y="606"/>
                    </a:lnTo>
                    <a:lnTo>
                      <a:pt x="56" y="593"/>
                    </a:lnTo>
                    <a:lnTo>
                      <a:pt x="60" y="579"/>
                    </a:lnTo>
                    <a:lnTo>
                      <a:pt x="65" y="566"/>
                    </a:lnTo>
                    <a:lnTo>
                      <a:pt x="69" y="554"/>
                    </a:lnTo>
                    <a:lnTo>
                      <a:pt x="75" y="543"/>
                    </a:lnTo>
                    <a:lnTo>
                      <a:pt x="79" y="533"/>
                    </a:lnTo>
                    <a:lnTo>
                      <a:pt x="87" y="522"/>
                    </a:lnTo>
                    <a:lnTo>
                      <a:pt x="94" y="514"/>
                    </a:lnTo>
                    <a:lnTo>
                      <a:pt x="110" y="497"/>
                    </a:lnTo>
                    <a:lnTo>
                      <a:pt x="119" y="491"/>
                    </a:lnTo>
                    <a:lnTo>
                      <a:pt x="138" y="481"/>
                    </a:lnTo>
                    <a:lnTo>
                      <a:pt x="148" y="476"/>
                    </a:lnTo>
                    <a:lnTo>
                      <a:pt x="148" y="790"/>
                    </a:lnTo>
                    <a:close/>
                    <a:moveTo>
                      <a:pt x="263" y="577"/>
                    </a:moveTo>
                    <a:lnTo>
                      <a:pt x="267" y="520"/>
                    </a:lnTo>
                    <a:lnTo>
                      <a:pt x="269" y="493"/>
                    </a:lnTo>
                    <a:lnTo>
                      <a:pt x="271" y="470"/>
                    </a:lnTo>
                    <a:lnTo>
                      <a:pt x="277" y="445"/>
                    </a:lnTo>
                    <a:lnTo>
                      <a:pt x="282" y="422"/>
                    </a:lnTo>
                    <a:lnTo>
                      <a:pt x="286" y="401"/>
                    </a:lnTo>
                    <a:lnTo>
                      <a:pt x="294" y="380"/>
                    </a:lnTo>
                    <a:lnTo>
                      <a:pt x="298" y="359"/>
                    </a:lnTo>
                    <a:lnTo>
                      <a:pt x="307" y="341"/>
                    </a:lnTo>
                    <a:lnTo>
                      <a:pt x="315" y="322"/>
                    </a:lnTo>
                    <a:lnTo>
                      <a:pt x="323" y="305"/>
                    </a:lnTo>
                    <a:lnTo>
                      <a:pt x="332" y="291"/>
                    </a:lnTo>
                    <a:lnTo>
                      <a:pt x="342" y="276"/>
                    </a:lnTo>
                    <a:lnTo>
                      <a:pt x="355" y="261"/>
                    </a:lnTo>
                    <a:lnTo>
                      <a:pt x="365" y="249"/>
                    </a:lnTo>
                    <a:lnTo>
                      <a:pt x="378" y="236"/>
                    </a:lnTo>
                    <a:lnTo>
                      <a:pt x="390" y="224"/>
                    </a:lnTo>
                    <a:lnTo>
                      <a:pt x="403" y="213"/>
                    </a:lnTo>
                    <a:lnTo>
                      <a:pt x="415" y="205"/>
                    </a:lnTo>
                    <a:lnTo>
                      <a:pt x="430" y="196"/>
                    </a:lnTo>
                    <a:lnTo>
                      <a:pt x="463" y="182"/>
                    </a:lnTo>
                    <a:lnTo>
                      <a:pt x="496" y="171"/>
                    </a:lnTo>
                    <a:lnTo>
                      <a:pt x="515" y="167"/>
                    </a:lnTo>
                    <a:lnTo>
                      <a:pt x="555" y="163"/>
                    </a:lnTo>
                    <a:lnTo>
                      <a:pt x="576" y="161"/>
                    </a:lnTo>
                    <a:lnTo>
                      <a:pt x="617" y="161"/>
                    </a:lnTo>
                    <a:lnTo>
                      <a:pt x="638" y="163"/>
                    </a:lnTo>
                    <a:lnTo>
                      <a:pt x="657" y="163"/>
                    </a:lnTo>
                    <a:lnTo>
                      <a:pt x="676" y="167"/>
                    </a:lnTo>
                    <a:lnTo>
                      <a:pt x="695" y="171"/>
                    </a:lnTo>
                    <a:lnTo>
                      <a:pt x="728" y="180"/>
                    </a:lnTo>
                    <a:lnTo>
                      <a:pt x="745" y="188"/>
                    </a:lnTo>
                    <a:lnTo>
                      <a:pt x="759" y="194"/>
                    </a:lnTo>
                    <a:lnTo>
                      <a:pt x="776" y="203"/>
                    </a:lnTo>
                    <a:lnTo>
                      <a:pt x="789" y="211"/>
                    </a:lnTo>
                    <a:lnTo>
                      <a:pt x="824" y="245"/>
                    </a:lnTo>
                    <a:lnTo>
                      <a:pt x="837" y="259"/>
                    </a:lnTo>
                    <a:lnTo>
                      <a:pt x="847" y="272"/>
                    </a:lnTo>
                    <a:lnTo>
                      <a:pt x="855" y="286"/>
                    </a:lnTo>
                    <a:lnTo>
                      <a:pt x="864" y="303"/>
                    </a:lnTo>
                    <a:lnTo>
                      <a:pt x="880" y="336"/>
                    </a:lnTo>
                    <a:lnTo>
                      <a:pt x="887" y="357"/>
                    </a:lnTo>
                    <a:lnTo>
                      <a:pt x="893" y="376"/>
                    </a:lnTo>
                    <a:lnTo>
                      <a:pt x="899" y="397"/>
                    </a:lnTo>
                    <a:lnTo>
                      <a:pt x="903" y="418"/>
                    </a:lnTo>
                    <a:lnTo>
                      <a:pt x="912" y="466"/>
                    </a:lnTo>
                    <a:lnTo>
                      <a:pt x="918" y="518"/>
                    </a:lnTo>
                    <a:lnTo>
                      <a:pt x="922" y="575"/>
                    </a:lnTo>
                    <a:lnTo>
                      <a:pt x="922" y="635"/>
                    </a:lnTo>
                    <a:lnTo>
                      <a:pt x="922" y="696"/>
                    </a:lnTo>
                    <a:lnTo>
                      <a:pt x="918" y="752"/>
                    </a:lnTo>
                    <a:lnTo>
                      <a:pt x="912" y="805"/>
                    </a:lnTo>
                    <a:lnTo>
                      <a:pt x="907" y="827"/>
                    </a:lnTo>
                    <a:lnTo>
                      <a:pt x="903" y="853"/>
                    </a:lnTo>
                    <a:lnTo>
                      <a:pt x="899" y="873"/>
                    </a:lnTo>
                    <a:lnTo>
                      <a:pt x="893" y="894"/>
                    </a:lnTo>
                    <a:lnTo>
                      <a:pt x="887" y="915"/>
                    </a:lnTo>
                    <a:lnTo>
                      <a:pt x="880" y="934"/>
                    </a:lnTo>
                    <a:lnTo>
                      <a:pt x="864" y="970"/>
                    </a:lnTo>
                    <a:lnTo>
                      <a:pt x="855" y="986"/>
                    </a:lnTo>
                    <a:lnTo>
                      <a:pt x="847" y="999"/>
                    </a:lnTo>
                    <a:lnTo>
                      <a:pt x="837" y="1013"/>
                    </a:lnTo>
                    <a:lnTo>
                      <a:pt x="824" y="1026"/>
                    </a:lnTo>
                    <a:lnTo>
                      <a:pt x="801" y="1049"/>
                    </a:lnTo>
                    <a:lnTo>
                      <a:pt x="789" y="1059"/>
                    </a:lnTo>
                    <a:lnTo>
                      <a:pt x="776" y="1070"/>
                    </a:lnTo>
                    <a:lnTo>
                      <a:pt x="745" y="1082"/>
                    </a:lnTo>
                    <a:lnTo>
                      <a:pt x="728" y="1089"/>
                    </a:lnTo>
                    <a:lnTo>
                      <a:pt x="713" y="1095"/>
                    </a:lnTo>
                    <a:lnTo>
                      <a:pt x="695" y="1101"/>
                    </a:lnTo>
                    <a:lnTo>
                      <a:pt x="676" y="1105"/>
                    </a:lnTo>
                    <a:lnTo>
                      <a:pt x="657" y="1107"/>
                    </a:lnTo>
                    <a:lnTo>
                      <a:pt x="638" y="1110"/>
                    </a:lnTo>
                    <a:lnTo>
                      <a:pt x="617" y="1110"/>
                    </a:lnTo>
                    <a:lnTo>
                      <a:pt x="572" y="1110"/>
                    </a:lnTo>
                    <a:lnTo>
                      <a:pt x="528" y="1105"/>
                    </a:lnTo>
                    <a:lnTo>
                      <a:pt x="505" y="1101"/>
                    </a:lnTo>
                    <a:lnTo>
                      <a:pt x="486" y="1097"/>
                    </a:lnTo>
                    <a:lnTo>
                      <a:pt x="465" y="1091"/>
                    </a:lnTo>
                    <a:lnTo>
                      <a:pt x="448" y="1082"/>
                    </a:lnTo>
                    <a:lnTo>
                      <a:pt x="430" y="1074"/>
                    </a:lnTo>
                    <a:lnTo>
                      <a:pt x="413" y="1066"/>
                    </a:lnTo>
                    <a:lnTo>
                      <a:pt x="398" y="1053"/>
                    </a:lnTo>
                    <a:lnTo>
                      <a:pt x="382" y="1041"/>
                    </a:lnTo>
                    <a:lnTo>
                      <a:pt x="355" y="1013"/>
                    </a:lnTo>
                    <a:lnTo>
                      <a:pt x="342" y="999"/>
                    </a:lnTo>
                    <a:lnTo>
                      <a:pt x="332" y="982"/>
                    </a:lnTo>
                    <a:lnTo>
                      <a:pt x="323" y="963"/>
                    </a:lnTo>
                    <a:lnTo>
                      <a:pt x="442" y="963"/>
                    </a:lnTo>
                    <a:lnTo>
                      <a:pt x="446" y="974"/>
                    </a:lnTo>
                    <a:lnTo>
                      <a:pt x="451" y="982"/>
                    </a:lnTo>
                    <a:lnTo>
                      <a:pt x="459" y="990"/>
                    </a:lnTo>
                    <a:lnTo>
                      <a:pt x="465" y="997"/>
                    </a:lnTo>
                    <a:lnTo>
                      <a:pt x="476" y="1001"/>
                    </a:lnTo>
                    <a:lnTo>
                      <a:pt x="486" y="1005"/>
                    </a:lnTo>
                    <a:lnTo>
                      <a:pt x="496" y="1009"/>
                    </a:lnTo>
                    <a:lnTo>
                      <a:pt x="507" y="1009"/>
                    </a:lnTo>
                    <a:lnTo>
                      <a:pt x="588" y="1009"/>
                    </a:lnTo>
                    <a:lnTo>
                      <a:pt x="603" y="1009"/>
                    </a:lnTo>
                    <a:lnTo>
                      <a:pt x="615" y="1005"/>
                    </a:lnTo>
                    <a:lnTo>
                      <a:pt x="626" y="999"/>
                    </a:lnTo>
                    <a:lnTo>
                      <a:pt x="636" y="990"/>
                    </a:lnTo>
                    <a:lnTo>
                      <a:pt x="645" y="980"/>
                    </a:lnTo>
                    <a:lnTo>
                      <a:pt x="651" y="970"/>
                    </a:lnTo>
                    <a:lnTo>
                      <a:pt x="655" y="955"/>
                    </a:lnTo>
                    <a:lnTo>
                      <a:pt x="655" y="942"/>
                    </a:lnTo>
                    <a:lnTo>
                      <a:pt x="655" y="932"/>
                    </a:lnTo>
                    <a:lnTo>
                      <a:pt x="655" y="917"/>
                    </a:lnTo>
                    <a:lnTo>
                      <a:pt x="651" y="905"/>
                    </a:lnTo>
                    <a:lnTo>
                      <a:pt x="645" y="894"/>
                    </a:lnTo>
                    <a:lnTo>
                      <a:pt x="636" y="884"/>
                    </a:lnTo>
                    <a:lnTo>
                      <a:pt x="626" y="876"/>
                    </a:lnTo>
                    <a:lnTo>
                      <a:pt x="615" y="869"/>
                    </a:lnTo>
                    <a:lnTo>
                      <a:pt x="603" y="865"/>
                    </a:lnTo>
                    <a:lnTo>
                      <a:pt x="588" y="865"/>
                    </a:lnTo>
                    <a:lnTo>
                      <a:pt x="496" y="865"/>
                    </a:lnTo>
                    <a:lnTo>
                      <a:pt x="486" y="867"/>
                    </a:lnTo>
                    <a:lnTo>
                      <a:pt x="476" y="871"/>
                    </a:lnTo>
                    <a:lnTo>
                      <a:pt x="465" y="878"/>
                    </a:lnTo>
                    <a:lnTo>
                      <a:pt x="451" y="890"/>
                    </a:lnTo>
                    <a:lnTo>
                      <a:pt x="446" y="901"/>
                    </a:lnTo>
                    <a:lnTo>
                      <a:pt x="442" y="911"/>
                    </a:lnTo>
                    <a:lnTo>
                      <a:pt x="298" y="911"/>
                    </a:lnTo>
                    <a:lnTo>
                      <a:pt x="290" y="882"/>
                    </a:lnTo>
                    <a:lnTo>
                      <a:pt x="282" y="853"/>
                    </a:lnTo>
                    <a:lnTo>
                      <a:pt x="275" y="821"/>
                    </a:lnTo>
                    <a:lnTo>
                      <a:pt x="271" y="788"/>
                    </a:lnTo>
                    <a:lnTo>
                      <a:pt x="267" y="752"/>
                    </a:lnTo>
                    <a:lnTo>
                      <a:pt x="263" y="715"/>
                    </a:lnTo>
                    <a:lnTo>
                      <a:pt x="263" y="675"/>
                    </a:lnTo>
                    <a:lnTo>
                      <a:pt x="261" y="635"/>
                    </a:lnTo>
                    <a:lnTo>
                      <a:pt x="263" y="577"/>
                    </a:lnTo>
                    <a:close/>
                    <a:moveTo>
                      <a:pt x="1131" y="648"/>
                    </a:moveTo>
                    <a:lnTo>
                      <a:pt x="1127" y="660"/>
                    </a:lnTo>
                    <a:lnTo>
                      <a:pt x="1127" y="675"/>
                    </a:lnTo>
                    <a:lnTo>
                      <a:pt x="1122" y="687"/>
                    </a:lnTo>
                    <a:lnTo>
                      <a:pt x="1118" y="700"/>
                    </a:lnTo>
                    <a:lnTo>
                      <a:pt x="1114" y="713"/>
                    </a:lnTo>
                    <a:lnTo>
                      <a:pt x="1110" y="723"/>
                    </a:lnTo>
                    <a:lnTo>
                      <a:pt x="1104" y="733"/>
                    </a:lnTo>
                    <a:lnTo>
                      <a:pt x="1097" y="746"/>
                    </a:lnTo>
                    <a:lnTo>
                      <a:pt x="1089" y="754"/>
                    </a:lnTo>
                    <a:lnTo>
                      <a:pt x="1074" y="769"/>
                    </a:lnTo>
                    <a:lnTo>
                      <a:pt x="1066" y="775"/>
                    </a:lnTo>
                    <a:lnTo>
                      <a:pt x="1056" y="782"/>
                    </a:lnTo>
                    <a:lnTo>
                      <a:pt x="1045" y="788"/>
                    </a:lnTo>
                    <a:lnTo>
                      <a:pt x="1035" y="790"/>
                    </a:lnTo>
                    <a:lnTo>
                      <a:pt x="1035" y="476"/>
                    </a:lnTo>
                    <a:lnTo>
                      <a:pt x="1045" y="481"/>
                    </a:lnTo>
                    <a:lnTo>
                      <a:pt x="1066" y="491"/>
                    </a:lnTo>
                    <a:lnTo>
                      <a:pt x="1074" y="497"/>
                    </a:lnTo>
                    <a:lnTo>
                      <a:pt x="1089" y="514"/>
                    </a:lnTo>
                    <a:lnTo>
                      <a:pt x="1097" y="522"/>
                    </a:lnTo>
                    <a:lnTo>
                      <a:pt x="1104" y="533"/>
                    </a:lnTo>
                    <a:lnTo>
                      <a:pt x="1110" y="543"/>
                    </a:lnTo>
                    <a:lnTo>
                      <a:pt x="1114" y="554"/>
                    </a:lnTo>
                    <a:lnTo>
                      <a:pt x="1118" y="566"/>
                    </a:lnTo>
                    <a:lnTo>
                      <a:pt x="1122" y="579"/>
                    </a:lnTo>
                    <a:lnTo>
                      <a:pt x="1127" y="593"/>
                    </a:lnTo>
                    <a:lnTo>
                      <a:pt x="1127" y="606"/>
                    </a:lnTo>
                    <a:lnTo>
                      <a:pt x="1131" y="621"/>
                    </a:lnTo>
                    <a:lnTo>
                      <a:pt x="1131" y="648"/>
                    </a:lnTo>
                    <a:close/>
                  </a:path>
                </a:pathLst>
              </a:custGeom>
              <a:grpFill/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74" name="Group 27">
              <a:extLst>
                <a:ext uri="{FF2B5EF4-FFF2-40B4-BE49-F238E27FC236}">
                  <a16:creationId xmlns:a16="http://schemas.microsoft.com/office/drawing/2014/main" id="{F9DA3704-2C53-41E2-BA4B-7D783C9F4BD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069659" y="2189965"/>
              <a:ext cx="512616" cy="512616"/>
              <a:chOff x="3245" y="1564"/>
              <a:chExt cx="1186" cy="1186"/>
            </a:xfrm>
            <a:solidFill>
              <a:srgbClr val="7571A0"/>
            </a:solidFill>
          </p:grpSpPr>
          <p:sp>
            <p:nvSpPr>
              <p:cNvPr id="75" name="Freeform 28">
                <a:extLst>
                  <a:ext uri="{FF2B5EF4-FFF2-40B4-BE49-F238E27FC236}">
                    <a16:creationId xmlns:a16="http://schemas.microsoft.com/office/drawing/2014/main" id="{D3D15CBE-5FE2-4620-90F6-B59EA64F0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6" y="2184"/>
                <a:ext cx="521" cy="522"/>
              </a:xfrm>
              <a:custGeom>
                <a:avLst/>
                <a:gdLst>
                  <a:gd name="T0" fmla="*/ 198 w 250"/>
                  <a:gd name="T1" fmla="*/ 69 h 250"/>
                  <a:gd name="T2" fmla="*/ 200 w 250"/>
                  <a:gd name="T3" fmla="*/ 63 h 250"/>
                  <a:gd name="T4" fmla="*/ 211 w 250"/>
                  <a:gd name="T5" fmla="*/ 52 h 250"/>
                  <a:gd name="T6" fmla="*/ 218 w 250"/>
                  <a:gd name="T7" fmla="*/ 49 h 250"/>
                  <a:gd name="T8" fmla="*/ 231 w 250"/>
                  <a:gd name="T9" fmla="*/ 44 h 250"/>
                  <a:gd name="T10" fmla="*/ 231 w 250"/>
                  <a:gd name="T11" fmla="*/ 19 h 250"/>
                  <a:gd name="T12" fmla="*/ 206 w 250"/>
                  <a:gd name="T13" fmla="*/ 19 h 250"/>
                  <a:gd name="T14" fmla="*/ 201 w 250"/>
                  <a:gd name="T15" fmla="*/ 32 h 250"/>
                  <a:gd name="T16" fmla="*/ 199 w 250"/>
                  <a:gd name="T17" fmla="*/ 39 h 250"/>
                  <a:gd name="T18" fmla="*/ 188 w 250"/>
                  <a:gd name="T19" fmla="*/ 50 h 250"/>
                  <a:gd name="T20" fmla="*/ 175 w 250"/>
                  <a:gd name="T21" fmla="*/ 50 h 250"/>
                  <a:gd name="T22" fmla="*/ 125 w 250"/>
                  <a:gd name="T23" fmla="*/ 0 h 250"/>
                  <a:gd name="T24" fmla="*/ 82 w 250"/>
                  <a:gd name="T25" fmla="*/ 44 h 250"/>
                  <a:gd name="T26" fmla="*/ 84 w 250"/>
                  <a:gd name="T27" fmla="*/ 46 h 250"/>
                  <a:gd name="T28" fmla="*/ 107 w 250"/>
                  <a:gd name="T29" fmla="*/ 56 h 250"/>
                  <a:gd name="T30" fmla="*/ 117 w 250"/>
                  <a:gd name="T31" fmla="*/ 81 h 250"/>
                  <a:gd name="T32" fmla="*/ 107 w 250"/>
                  <a:gd name="T33" fmla="*/ 106 h 250"/>
                  <a:gd name="T34" fmla="*/ 57 w 250"/>
                  <a:gd name="T35" fmla="*/ 106 h 250"/>
                  <a:gd name="T36" fmla="*/ 46 w 250"/>
                  <a:gd name="T37" fmla="*/ 84 h 250"/>
                  <a:gd name="T38" fmla="*/ 44 w 250"/>
                  <a:gd name="T39" fmla="*/ 81 h 250"/>
                  <a:gd name="T40" fmla="*/ 0 w 250"/>
                  <a:gd name="T41" fmla="*/ 125 h 250"/>
                  <a:gd name="T42" fmla="*/ 50 w 250"/>
                  <a:gd name="T43" fmla="*/ 175 h 250"/>
                  <a:gd name="T44" fmla="*/ 50 w 250"/>
                  <a:gd name="T45" fmla="*/ 187 h 250"/>
                  <a:gd name="T46" fmla="*/ 39 w 250"/>
                  <a:gd name="T47" fmla="*/ 199 h 250"/>
                  <a:gd name="T48" fmla="*/ 33 w 250"/>
                  <a:gd name="T49" fmla="*/ 201 h 250"/>
                  <a:gd name="T50" fmla="*/ 19 w 250"/>
                  <a:gd name="T51" fmla="*/ 206 h 250"/>
                  <a:gd name="T52" fmla="*/ 19 w 250"/>
                  <a:gd name="T53" fmla="*/ 231 h 250"/>
                  <a:gd name="T54" fmla="*/ 44 w 250"/>
                  <a:gd name="T55" fmla="*/ 231 h 250"/>
                  <a:gd name="T56" fmla="*/ 49 w 250"/>
                  <a:gd name="T57" fmla="*/ 218 h 250"/>
                  <a:gd name="T58" fmla="*/ 52 w 250"/>
                  <a:gd name="T59" fmla="*/ 211 h 250"/>
                  <a:gd name="T60" fmla="*/ 63 w 250"/>
                  <a:gd name="T61" fmla="*/ 200 h 250"/>
                  <a:gd name="T62" fmla="*/ 75 w 250"/>
                  <a:gd name="T63" fmla="*/ 200 h 250"/>
                  <a:gd name="T64" fmla="*/ 125 w 250"/>
                  <a:gd name="T65" fmla="*/ 250 h 250"/>
                  <a:gd name="T66" fmla="*/ 166 w 250"/>
                  <a:gd name="T67" fmla="*/ 209 h 250"/>
                  <a:gd name="T68" fmla="*/ 150 w 250"/>
                  <a:gd name="T69" fmla="*/ 200 h 250"/>
                  <a:gd name="T70" fmla="*/ 140 w 250"/>
                  <a:gd name="T71" fmla="*/ 175 h 250"/>
                  <a:gd name="T72" fmla="*/ 150 w 250"/>
                  <a:gd name="T73" fmla="*/ 150 h 250"/>
                  <a:gd name="T74" fmla="*/ 200 w 250"/>
                  <a:gd name="T75" fmla="*/ 150 h 250"/>
                  <a:gd name="T76" fmla="*/ 209 w 250"/>
                  <a:gd name="T77" fmla="*/ 166 h 250"/>
                  <a:gd name="T78" fmla="*/ 250 w 250"/>
                  <a:gd name="T79" fmla="*/ 125 h 250"/>
                  <a:gd name="T80" fmla="*/ 200 w 250"/>
                  <a:gd name="T81" fmla="*/ 75 h 250"/>
                  <a:gd name="T82" fmla="*/ 198 w 250"/>
                  <a:gd name="T83" fmla="*/ 69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0" h="250">
                    <a:moveTo>
                      <a:pt x="198" y="69"/>
                    </a:moveTo>
                    <a:cubicBezTo>
                      <a:pt x="198" y="67"/>
                      <a:pt x="198" y="64"/>
                      <a:pt x="200" y="63"/>
                    </a:cubicBezTo>
                    <a:cubicBezTo>
                      <a:pt x="211" y="52"/>
                      <a:pt x="211" y="52"/>
                      <a:pt x="211" y="52"/>
                    </a:cubicBezTo>
                    <a:cubicBezTo>
                      <a:pt x="213" y="50"/>
                      <a:pt x="216" y="49"/>
                      <a:pt x="218" y="49"/>
                    </a:cubicBezTo>
                    <a:cubicBezTo>
                      <a:pt x="223" y="49"/>
                      <a:pt x="228" y="47"/>
                      <a:pt x="231" y="44"/>
                    </a:cubicBezTo>
                    <a:cubicBezTo>
                      <a:pt x="238" y="37"/>
                      <a:pt x="238" y="26"/>
                      <a:pt x="231" y="19"/>
                    </a:cubicBezTo>
                    <a:cubicBezTo>
                      <a:pt x="224" y="12"/>
                      <a:pt x="213" y="12"/>
                      <a:pt x="206" y="19"/>
                    </a:cubicBezTo>
                    <a:cubicBezTo>
                      <a:pt x="203" y="23"/>
                      <a:pt x="201" y="27"/>
                      <a:pt x="201" y="32"/>
                    </a:cubicBezTo>
                    <a:cubicBezTo>
                      <a:pt x="202" y="35"/>
                      <a:pt x="201" y="37"/>
                      <a:pt x="199" y="39"/>
                    </a:cubicBezTo>
                    <a:cubicBezTo>
                      <a:pt x="188" y="50"/>
                      <a:pt x="188" y="50"/>
                      <a:pt x="188" y="50"/>
                    </a:cubicBezTo>
                    <a:cubicBezTo>
                      <a:pt x="184" y="54"/>
                      <a:pt x="179" y="54"/>
                      <a:pt x="175" y="5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82" y="44"/>
                      <a:pt x="82" y="44"/>
                      <a:pt x="82" y="44"/>
                    </a:cubicBezTo>
                    <a:cubicBezTo>
                      <a:pt x="84" y="46"/>
                      <a:pt x="84" y="46"/>
                      <a:pt x="84" y="46"/>
                    </a:cubicBezTo>
                    <a:cubicBezTo>
                      <a:pt x="92" y="47"/>
                      <a:pt x="101" y="50"/>
                      <a:pt x="107" y="56"/>
                    </a:cubicBezTo>
                    <a:cubicBezTo>
                      <a:pt x="113" y="63"/>
                      <a:pt x="117" y="72"/>
                      <a:pt x="117" y="81"/>
                    </a:cubicBezTo>
                    <a:cubicBezTo>
                      <a:pt x="117" y="91"/>
                      <a:pt x="113" y="100"/>
                      <a:pt x="107" y="106"/>
                    </a:cubicBezTo>
                    <a:cubicBezTo>
                      <a:pt x="93" y="120"/>
                      <a:pt x="70" y="120"/>
                      <a:pt x="57" y="106"/>
                    </a:cubicBezTo>
                    <a:cubicBezTo>
                      <a:pt x="51" y="100"/>
                      <a:pt x="47" y="92"/>
                      <a:pt x="46" y="84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50" y="175"/>
                      <a:pt x="50" y="175"/>
                      <a:pt x="50" y="175"/>
                    </a:cubicBezTo>
                    <a:cubicBezTo>
                      <a:pt x="54" y="178"/>
                      <a:pt x="54" y="184"/>
                      <a:pt x="50" y="187"/>
                    </a:cubicBezTo>
                    <a:cubicBezTo>
                      <a:pt x="39" y="199"/>
                      <a:pt x="39" y="199"/>
                      <a:pt x="39" y="199"/>
                    </a:cubicBezTo>
                    <a:cubicBezTo>
                      <a:pt x="38" y="200"/>
                      <a:pt x="35" y="201"/>
                      <a:pt x="33" y="201"/>
                    </a:cubicBezTo>
                    <a:cubicBezTo>
                      <a:pt x="27" y="201"/>
                      <a:pt x="23" y="203"/>
                      <a:pt x="19" y="206"/>
                    </a:cubicBezTo>
                    <a:cubicBezTo>
                      <a:pt x="12" y="213"/>
                      <a:pt x="12" y="224"/>
                      <a:pt x="19" y="231"/>
                    </a:cubicBezTo>
                    <a:cubicBezTo>
                      <a:pt x="26" y="238"/>
                      <a:pt x="37" y="238"/>
                      <a:pt x="44" y="231"/>
                    </a:cubicBezTo>
                    <a:cubicBezTo>
                      <a:pt x="48" y="228"/>
                      <a:pt x="49" y="223"/>
                      <a:pt x="49" y="218"/>
                    </a:cubicBezTo>
                    <a:cubicBezTo>
                      <a:pt x="49" y="215"/>
                      <a:pt x="50" y="213"/>
                      <a:pt x="52" y="211"/>
                    </a:cubicBezTo>
                    <a:cubicBezTo>
                      <a:pt x="63" y="200"/>
                      <a:pt x="63" y="200"/>
                      <a:pt x="63" y="200"/>
                    </a:cubicBezTo>
                    <a:cubicBezTo>
                      <a:pt x="66" y="197"/>
                      <a:pt x="72" y="197"/>
                      <a:pt x="75" y="200"/>
                    </a:cubicBezTo>
                    <a:cubicBezTo>
                      <a:pt x="125" y="250"/>
                      <a:pt x="125" y="250"/>
                      <a:pt x="125" y="250"/>
                    </a:cubicBezTo>
                    <a:cubicBezTo>
                      <a:pt x="166" y="209"/>
                      <a:pt x="166" y="209"/>
                      <a:pt x="166" y="209"/>
                    </a:cubicBezTo>
                    <a:cubicBezTo>
                      <a:pt x="160" y="207"/>
                      <a:pt x="155" y="204"/>
                      <a:pt x="150" y="200"/>
                    </a:cubicBezTo>
                    <a:cubicBezTo>
                      <a:pt x="144" y="193"/>
                      <a:pt x="140" y="184"/>
                      <a:pt x="140" y="175"/>
                    </a:cubicBezTo>
                    <a:cubicBezTo>
                      <a:pt x="140" y="166"/>
                      <a:pt x="144" y="157"/>
                      <a:pt x="150" y="150"/>
                    </a:cubicBezTo>
                    <a:cubicBezTo>
                      <a:pt x="164" y="137"/>
                      <a:pt x="187" y="137"/>
                      <a:pt x="200" y="150"/>
                    </a:cubicBezTo>
                    <a:cubicBezTo>
                      <a:pt x="205" y="154"/>
                      <a:pt x="208" y="160"/>
                      <a:pt x="209" y="166"/>
                    </a:cubicBezTo>
                    <a:cubicBezTo>
                      <a:pt x="250" y="125"/>
                      <a:pt x="250" y="125"/>
                      <a:pt x="250" y="125"/>
                    </a:cubicBezTo>
                    <a:cubicBezTo>
                      <a:pt x="200" y="75"/>
                      <a:pt x="200" y="75"/>
                      <a:pt x="200" y="75"/>
                    </a:cubicBezTo>
                    <a:cubicBezTo>
                      <a:pt x="198" y="74"/>
                      <a:pt x="198" y="71"/>
                      <a:pt x="198" y="69"/>
                    </a:cubicBezTo>
                    <a:close/>
                  </a:path>
                </a:pathLst>
              </a:custGeom>
              <a:grpFill/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Freeform 29">
                <a:extLst>
                  <a:ext uri="{FF2B5EF4-FFF2-40B4-BE49-F238E27FC236}">
                    <a16:creationId xmlns:a16="http://schemas.microsoft.com/office/drawing/2014/main" id="{CABDB3B8-DB28-42F8-8BAC-C2E9EA37C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6" y="1612"/>
                <a:ext cx="521" cy="520"/>
              </a:xfrm>
              <a:custGeom>
                <a:avLst/>
                <a:gdLst>
                  <a:gd name="T0" fmla="*/ 53 w 250"/>
                  <a:gd name="T1" fmla="*/ 181 h 249"/>
                  <a:gd name="T2" fmla="*/ 50 w 250"/>
                  <a:gd name="T3" fmla="*/ 187 h 249"/>
                  <a:gd name="T4" fmla="*/ 39 w 250"/>
                  <a:gd name="T5" fmla="*/ 198 h 249"/>
                  <a:gd name="T6" fmla="*/ 33 w 250"/>
                  <a:gd name="T7" fmla="*/ 201 h 249"/>
                  <a:gd name="T8" fmla="*/ 32 w 250"/>
                  <a:gd name="T9" fmla="*/ 201 h 249"/>
                  <a:gd name="T10" fmla="*/ 19 w 250"/>
                  <a:gd name="T11" fmla="*/ 206 h 249"/>
                  <a:gd name="T12" fmla="*/ 19 w 250"/>
                  <a:gd name="T13" fmla="*/ 231 h 249"/>
                  <a:gd name="T14" fmla="*/ 44 w 250"/>
                  <a:gd name="T15" fmla="*/ 231 h 249"/>
                  <a:gd name="T16" fmla="*/ 49 w 250"/>
                  <a:gd name="T17" fmla="*/ 217 h 249"/>
                  <a:gd name="T18" fmla="*/ 52 w 250"/>
                  <a:gd name="T19" fmla="*/ 210 h 249"/>
                  <a:gd name="T20" fmla="*/ 63 w 250"/>
                  <a:gd name="T21" fmla="*/ 199 h 249"/>
                  <a:gd name="T22" fmla="*/ 69 w 250"/>
                  <a:gd name="T23" fmla="*/ 197 h 249"/>
                  <a:gd name="T24" fmla="*/ 75 w 250"/>
                  <a:gd name="T25" fmla="*/ 199 h 249"/>
                  <a:gd name="T26" fmla="*/ 125 w 250"/>
                  <a:gd name="T27" fmla="*/ 249 h 249"/>
                  <a:gd name="T28" fmla="*/ 166 w 250"/>
                  <a:gd name="T29" fmla="*/ 208 h 249"/>
                  <a:gd name="T30" fmla="*/ 150 w 250"/>
                  <a:gd name="T31" fmla="*/ 199 h 249"/>
                  <a:gd name="T32" fmla="*/ 150 w 250"/>
                  <a:gd name="T33" fmla="*/ 149 h 249"/>
                  <a:gd name="T34" fmla="*/ 200 w 250"/>
                  <a:gd name="T35" fmla="*/ 149 h 249"/>
                  <a:gd name="T36" fmla="*/ 209 w 250"/>
                  <a:gd name="T37" fmla="*/ 165 h 249"/>
                  <a:gd name="T38" fmla="*/ 250 w 250"/>
                  <a:gd name="T39" fmla="*/ 124 h 249"/>
                  <a:gd name="T40" fmla="*/ 200 w 250"/>
                  <a:gd name="T41" fmla="*/ 75 h 249"/>
                  <a:gd name="T42" fmla="*/ 200 w 250"/>
                  <a:gd name="T43" fmla="*/ 62 h 249"/>
                  <a:gd name="T44" fmla="*/ 211 w 250"/>
                  <a:gd name="T45" fmla="*/ 51 h 249"/>
                  <a:gd name="T46" fmla="*/ 218 w 250"/>
                  <a:gd name="T47" fmla="*/ 48 h 249"/>
                  <a:gd name="T48" fmla="*/ 219 w 250"/>
                  <a:gd name="T49" fmla="*/ 48 h 249"/>
                  <a:gd name="T50" fmla="*/ 231 w 250"/>
                  <a:gd name="T51" fmla="*/ 43 h 249"/>
                  <a:gd name="T52" fmla="*/ 231 w 250"/>
                  <a:gd name="T53" fmla="*/ 18 h 249"/>
                  <a:gd name="T54" fmla="*/ 206 w 250"/>
                  <a:gd name="T55" fmla="*/ 18 h 249"/>
                  <a:gd name="T56" fmla="*/ 201 w 250"/>
                  <a:gd name="T57" fmla="*/ 32 h 249"/>
                  <a:gd name="T58" fmla="*/ 199 w 250"/>
                  <a:gd name="T59" fmla="*/ 38 h 249"/>
                  <a:gd name="T60" fmla="*/ 188 w 250"/>
                  <a:gd name="T61" fmla="*/ 50 h 249"/>
                  <a:gd name="T62" fmla="*/ 175 w 250"/>
                  <a:gd name="T63" fmla="*/ 50 h 249"/>
                  <a:gd name="T64" fmla="*/ 125 w 250"/>
                  <a:gd name="T65" fmla="*/ 0 h 249"/>
                  <a:gd name="T66" fmla="*/ 84 w 250"/>
                  <a:gd name="T67" fmla="*/ 40 h 249"/>
                  <a:gd name="T68" fmla="*/ 100 w 250"/>
                  <a:gd name="T69" fmla="*/ 50 h 249"/>
                  <a:gd name="T70" fmla="*/ 111 w 250"/>
                  <a:gd name="T71" fmla="*/ 75 h 249"/>
                  <a:gd name="T72" fmla="*/ 100 w 250"/>
                  <a:gd name="T73" fmla="*/ 100 h 249"/>
                  <a:gd name="T74" fmla="*/ 50 w 250"/>
                  <a:gd name="T75" fmla="*/ 100 h 249"/>
                  <a:gd name="T76" fmla="*/ 41 w 250"/>
                  <a:gd name="T77" fmla="*/ 84 h 249"/>
                  <a:gd name="T78" fmla="*/ 0 w 250"/>
                  <a:gd name="T79" fmla="*/ 124 h 249"/>
                  <a:gd name="T80" fmla="*/ 50 w 250"/>
                  <a:gd name="T81" fmla="*/ 174 h 249"/>
                  <a:gd name="T82" fmla="*/ 53 w 250"/>
                  <a:gd name="T83" fmla="*/ 181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0" h="249">
                    <a:moveTo>
                      <a:pt x="53" y="181"/>
                    </a:moveTo>
                    <a:cubicBezTo>
                      <a:pt x="53" y="183"/>
                      <a:pt x="52" y="185"/>
                      <a:pt x="50" y="187"/>
                    </a:cubicBezTo>
                    <a:cubicBezTo>
                      <a:pt x="39" y="198"/>
                      <a:pt x="39" y="198"/>
                      <a:pt x="39" y="198"/>
                    </a:cubicBezTo>
                    <a:cubicBezTo>
                      <a:pt x="38" y="200"/>
                      <a:pt x="35" y="201"/>
                      <a:pt x="33" y="201"/>
                    </a:cubicBezTo>
                    <a:cubicBezTo>
                      <a:pt x="32" y="201"/>
                      <a:pt x="32" y="201"/>
                      <a:pt x="32" y="201"/>
                    </a:cubicBezTo>
                    <a:cubicBezTo>
                      <a:pt x="27" y="201"/>
                      <a:pt x="22" y="202"/>
                      <a:pt x="19" y="206"/>
                    </a:cubicBezTo>
                    <a:cubicBezTo>
                      <a:pt x="12" y="212"/>
                      <a:pt x="12" y="224"/>
                      <a:pt x="19" y="231"/>
                    </a:cubicBezTo>
                    <a:cubicBezTo>
                      <a:pt x="26" y="237"/>
                      <a:pt x="37" y="237"/>
                      <a:pt x="44" y="231"/>
                    </a:cubicBezTo>
                    <a:cubicBezTo>
                      <a:pt x="48" y="227"/>
                      <a:pt x="49" y="222"/>
                      <a:pt x="49" y="217"/>
                    </a:cubicBezTo>
                    <a:cubicBezTo>
                      <a:pt x="49" y="215"/>
                      <a:pt x="50" y="212"/>
                      <a:pt x="52" y="210"/>
                    </a:cubicBezTo>
                    <a:cubicBezTo>
                      <a:pt x="63" y="199"/>
                      <a:pt x="63" y="199"/>
                      <a:pt x="63" y="199"/>
                    </a:cubicBezTo>
                    <a:cubicBezTo>
                      <a:pt x="64" y="198"/>
                      <a:pt x="67" y="197"/>
                      <a:pt x="69" y="197"/>
                    </a:cubicBezTo>
                    <a:cubicBezTo>
                      <a:pt x="71" y="197"/>
                      <a:pt x="74" y="198"/>
                      <a:pt x="75" y="199"/>
                    </a:cubicBezTo>
                    <a:cubicBezTo>
                      <a:pt x="125" y="249"/>
                      <a:pt x="125" y="249"/>
                      <a:pt x="125" y="249"/>
                    </a:cubicBezTo>
                    <a:cubicBezTo>
                      <a:pt x="166" y="208"/>
                      <a:pt x="166" y="208"/>
                      <a:pt x="166" y="208"/>
                    </a:cubicBezTo>
                    <a:cubicBezTo>
                      <a:pt x="160" y="207"/>
                      <a:pt x="155" y="204"/>
                      <a:pt x="150" y="199"/>
                    </a:cubicBezTo>
                    <a:cubicBezTo>
                      <a:pt x="136" y="186"/>
                      <a:pt x="136" y="163"/>
                      <a:pt x="150" y="149"/>
                    </a:cubicBezTo>
                    <a:cubicBezTo>
                      <a:pt x="164" y="136"/>
                      <a:pt x="187" y="136"/>
                      <a:pt x="200" y="149"/>
                    </a:cubicBezTo>
                    <a:cubicBezTo>
                      <a:pt x="205" y="154"/>
                      <a:pt x="208" y="159"/>
                      <a:pt x="209" y="165"/>
                    </a:cubicBezTo>
                    <a:cubicBezTo>
                      <a:pt x="250" y="124"/>
                      <a:pt x="250" y="124"/>
                      <a:pt x="250" y="124"/>
                    </a:cubicBezTo>
                    <a:cubicBezTo>
                      <a:pt x="200" y="75"/>
                      <a:pt x="200" y="75"/>
                      <a:pt x="200" y="75"/>
                    </a:cubicBezTo>
                    <a:cubicBezTo>
                      <a:pt x="197" y="71"/>
                      <a:pt x="197" y="66"/>
                      <a:pt x="200" y="62"/>
                    </a:cubicBezTo>
                    <a:cubicBezTo>
                      <a:pt x="211" y="51"/>
                      <a:pt x="211" y="51"/>
                      <a:pt x="211" y="51"/>
                    </a:cubicBezTo>
                    <a:cubicBezTo>
                      <a:pt x="213" y="49"/>
                      <a:pt x="215" y="48"/>
                      <a:pt x="218" y="48"/>
                    </a:cubicBezTo>
                    <a:cubicBezTo>
                      <a:pt x="219" y="48"/>
                      <a:pt x="219" y="48"/>
                      <a:pt x="219" y="48"/>
                    </a:cubicBezTo>
                    <a:cubicBezTo>
                      <a:pt x="224" y="48"/>
                      <a:pt x="228" y="47"/>
                      <a:pt x="231" y="43"/>
                    </a:cubicBezTo>
                    <a:cubicBezTo>
                      <a:pt x="238" y="36"/>
                      <a:pt x="238" y="25"/>
                      <a:pt x="231" y="18"/>
                    </a:cubicBezTo>
                    <a:cubicBezTo>
                      <a:pt x="225" y="12"/>
                      <a:pt x="213" y="12"/>
                      <a:pt x="206" y="18"/>
                    </a:cubicBezTo>
                    <a:cubicBezTo>
                      <a:pt x="203" y="22"/>
                      <a:pt x="201" y="27"/>
                      <a:pt x="201" y="32"/>
                    </a:cubicBezTo>
                    <a:cubicBezTo>
                      <a:pt x="202" y="34"/>
                      <a:pt x="201" y="37"/>
                      <a:pt x="199" y="38"/>
                    </a:cubicBezTo>
                    <a:cubicBezTo>
                      <a:pt x="188" y="50"/>
                      <a:pt x="188" y="50"/>
                      <a:pt x="188" y="50"/>
                    </a:cubicBezTo>
                    <a:cubicBezTo>
                      <a:pt x="184" y="53"/>
                      <a:pt x="179" y="53"/>
                      <a:pt x="175" y="5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84" y="40"/>
                      <a:pt x="84" y="40"/>
                      <a:pt x="84" y="40"/>
                    </a:cubicBezTo>
                    <a:cubicBezTo>
                      <a:pt x="90" y="42"/>
                      <a:pt x="96" y="45"/>
                      <a:pt x="100" y="50"/>
                    </a:cubicBezTo>
                    <a:cubicBezTo>
                      <a:pt x="107" y="56"/>
                      <a:pt x="111" y="65"/>
                      <a:pt x="111" y="75"/>
                    </a:cubicBezTo>
                    <a:cubicBezTo>
                      <a:pt x="111" y="84"/>
                      <a:pt x="107" y="93"/>
                      <a:pt x="100" y="100"/>
                    </a:cubicBezTo>
                    <a:cubicBezTo>
                      <a:pt x="87" y="113"/>
                      <a:pt x="64" y="113"/>
                      <a:pt x="50" y="100"/>
                    </a:cubicBezTo>
                    <a:cubicBezTo>
                      <a:pt x="46" y="95"/>
                      <a:pt x="43" y="90"/>
                      <a:pt x="41" y="84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50" y="174"/>
                      <a:pt x="50" y="174"/>
                      <a:pt x="50" y="174"/>
                    </a:cubicBezTo>
                    <a:cubicBezTo>
                      <a:pt x="52" y="176"/>
                      <a:pt x="53" y="178"/>
                      <a:pt x="53" y="181"/>
                    </a:cubicBezTo>
                    <a:close/>
                  </a:path>
                </a:pathLst>
              </a:custGeom>
              <a:grpFill/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30">
                <a:extLst>
                  <a:ext uri="{FF2B5EF4-FFF2-40B4-BE49-F238E27FC236}">
                    <a16:creationId xmlns:a16="http://schemas.microsoft.com/office/drawing/2014/main" id="{02359FCC-76E5-4058-8B35-40271C9B62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1" y="1898"/>
                <a:ext cx="521" cy="522"/>
              </a:xfrm>
              <a:custGeom>
                <a:avLst/>
                <a:gdLst>
                  <a:gd name="T0" fmla="*/ 187 w 250"/>
                  <a:gd name="T1" fmla="*/ 200 h 250"/>
                  <a:gd name="T2" fmla="*/ 198 w 250"/>
                  <a:gd name="T3" fmla="*/ 211 h 250"/>
                  <a:gd name="T4" fmla="*/ 201 w 250"/>
                  <a:gd name="T5" fmla="*/ 217 h 250"/>
                  <a:gd name="T6" fmla="*/ 206 w 250"/>
                  <a:gd name="T7" fmla="*/ 231 h 250"/>
                  <a:gd name="T8" fmla="*/ 231 w 250"/>
                  <a:gd name="T9" fmla="*/ 231 h 250"/>
                  <a:gd name="T10" fmla="*/ 231 w 250"/>
                  <a:gd name="T11" fmla="*/ 206 h 250"/>
                  <a:gd name="T12" fmla="*/ 218 w 250"/>
                  <a:gd name="T13" fmla="*/ 201 h 250"/>
                  <a:gd name="T14" fmla="*/ 211 w 250"/>
                  <a:gd name="T15" fmla="*/ 198 h 250"/>
                  <a:gd name="T16" fmla="*/ 200 w 250"/>
                  <a:gd name="T17" fmla="*/ 187 h 250"/>
                  <a:gd name="T18" fmla="*/ 197 w 250"/>
                  <a:gd name="T19" fmla="*/ 181 h 250"/>
                  <a:gd name="T20" fmla="*/ 200 w 250"/>
                  <a:gd name="T21" fmla="*/ 175 h 250"/>
                  <a:gd name="T22" fmla="*/ 250 w 250"/>
                  <a:gd name="T23" fmla="*/ 125 h 250"/>
                  <a:gd name="T24" fmla="*/ 206 w 250"/>
                  <a:gd name="T25" fmla="*/ 81 h 250"/>
                  <a:gd name="T26" fmla="*/ 204 w 250"/>
                  <a:gd name="T27" fmla="*/ 83 h 250"/>
                  <a:gd name="T28" fmla="*/ 194 w 250"/>
                  <a:gd name="T29" fmla="*/ 106 h 250"/>
                  <a:gd name="T30" fmla="*/ 144 w 250"/>
                  <a:gd name="T31" fmla="*/ 106 h 250"/>
                  <a:gd name="T32" fmla="*/ 144 w 250"/>
                  <a:gd name="T33" fmla="*/ 56 h 250"/>
                  <a:gd name="T34" fmla="*/ 166 w 250"/>
                  <a:gd name="T35" fmla="*/ 46 h 250"/>
                  <a:gd name="T36" fmla="*/ 169 w 250"/>
                  <a:gd name="T37" fmla="*/ 44 h 250"/>
                  <a:gd name="T38" fmla="*/ 125 w 250"/>
                  <a:gd name="T39" fmla="*/ 0 h 250"/>
                  <a:gd name="T40" fmla="*/ 75 w 250"/>
                  <a:gd name="T41" fmla="*/ 50 h 250"/>
                  <a:gd name="T42" fmla="*/ 69 w 250"/>
                  <a:gd name="T43" fmla="*/ 52 h 250"/>
                  <a:gd name="T44" fmla="*/ 63 w 250"/>
                  <a:gd name="T45" fmla="*/ 50 h 250"/>
                  <a:gd name="T46" fmla="*/ 51 w 250"/>
                  <a:gd name="T47" fmla="*/ 39 h 250"/>
                  <a:gd name="T48" fmla="*/ 49 w 250"/>
                  <a:gd name="T49" fmla="*/ 32 h 250"/>
                  <a:gd name="T50" fmla="*/ 44 w 250"/>
                  <a:gd name="T51" fmla="*/ 19 h 250"/>
                  <a:gd name="T52" fmla="*/ 19 w 250"/>
                  <a:gd name="T53" fmla="*/ 19 h 250"/>
                  <a:gd name="T54" fmla="*/ 14 w 250"/>
                  <a:gd name="T55" fmla="*/ 31 h 250"/>
                  <a:gd name="T56" fmla="*/ 19 w 250"/>
                  <a:gd name="T57" fmla="*/ 44 h 250"/>
                  <a:gd name="T58" fmla="*/ 32 w 250"/>
                  <a:gd name="T59" fmla="*/ 49 h 250"/>
                  <a:gd name="T60" fmla="*/ 39 w 250"/>
                  <a:gd name="T61" fmla="*/ 51 h 250"/>
                  <a:gd name="T62" fmla="*/ 50 w 250"/>
                  <a:gd name="T63" fmla="*/ 62 h 250"/>
                  <a:gd name="T64" fmla="*/ 50 w 250"/>
                  <a:gd name="T65" fmla="*/ 75 h 250"/>
                  <a:gd name="T66" fmla="*/ 0 w 250"/>
                  <a:gd name="T67" fmla="*/ 125 h 250"/>
                  <a:gd name="T68" fmla="*/ 41 w 250"/>
                  <a:gd name="T69" fmla="*/ 166 h 250"/>
                  <a:gd name="T70" fmla="*/ 50 w 250"/>
                  <a:gd name="T71" fmla="*/ 150 h 250"/>
                  <a:gd name="T72" fmla="*/ 100 w 250"/>
                  <a:gd name="T73" fmla="*/ 150 h 250"/>
                  <a:gd name="T74" fmla="*/ 110 w 250"/>
                  <a:gd name="T75" fmla="*/ 175 h 250"/>
                  <a:gd name="T76" fmla="*/ 100 w 250"/>
                  <a:gd name="T77" fmla="*/ 200 h 250"/>
                  <a:gd name="T78" fmla="*/ 84 w 250"/>
                  <a:gd name="T79" fmla="*/ 209 h 250"/>
                  <a:gd name="T80" fmla="*/ 125 w 250"/>
                  <a:gd name="T81" fmla="*/ 250 h 250"/>
                  <a:gd name="T82" fmla="*/ 175 w 250"/>
                  <a:gd name="T83" fmla="*/ 200 h 250"/>
                  <a:gd name="T84" fmla="*/ 187 w 250"/>
                  <a:gd name="T85" fmla="*/ 20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0" h="250">
                    <a:moveTo>
                      <a:pt x="187" y="200"/>
                    </a:moveTo>
                    <a:cubicBezTo>
                      <a:pt x="198" y="211"/>
                      <a:pt x="198" y="211"/>
                      <a:pt x="198" y="211"/>
                    </a:cubicBezTo>
                    <a:cubicBezTo>
                      <a:pt x="200" y="213"/>
                      <a:pt x="201" y="215"/>
                      <a:pt x="201" y="217"/>
                    </a:cubicBezTo>
                    <a:cubicBezTo>
                      <a:pt x="201" y="223"/>
                      <a:pt x="203" y="227"/>
                      <a:pt x="206" y="231"/>
                    </a:cubicBezTo>
                    <a:cubicBezTo>
                      <a:pt x="213" y="238"/>
                      <a:pt x="224" y="238"/>
                      <a:pt x="231" y="231"/>
                    </a:cubicBezTo>
                    <a:cubicBezTo>
                      <a:pt x="238" y="224"/>
                      <a:pt x="238" y="213"/>
                      <a:pt x="231" y="206"/>
                    </a:cubicBezTo>
                    <a:cubicBezTo>
                      <a:pt x="228" y="202"/>
                      <a:pt x="223" y="201"/>
                      <a:pt x="218" y="201"/>
                    </a:cubicBezTo>
                    <a:cubicBezTo>
                      <a:pt x="215" y="201"/>
                      <a:pt x="213" y="200"/>
                      <a:pt x="211" y="198"/>
                    </a:cubicBezTo>
                    <a:cubicBezTo>
                      <a:pt x="200" y="187"/>
                      <a:pt x="200" y="187"/>
                      <a:pt x="200" y="187"/>
                    </a:cubicBezTo>
                    <a:cubicBezTo>
                      <a:pt x="198" y="186"/>
                      <a:pt x="197" y="183"/>
                      <a:pt x="197" y="181"/>
                    </a:cubicBezTo>
                    <a:cubicBezTo>
                      <a:pt x="197" y="179"/>
                      <a:pt x="198" y="176"/>
                      <a:pt x="200" y="175"/>
                    </a:cubicBezTo>
                    <a:cubicBezTo>
                      <a:pt x="250" y="125"/>
                      <a:pt x="250" y="125"/>
                      <a:pt x="250" y="125"/>
                    </a:cubicBezTo>
                    <a:cubicBezTo>
                      <a:pt x="206" y="81"/>
                      <a:pt x="206" y="81"/>
                      <a:pt x="206" y="81"/>
                    </a:cubicBezTo>
                    <a:cubicBezTo>
                      <a:pt x="204" y="83"/>
                      <a:pt x="204" y="83"/>
                      <a:pt x="204" y="83"/>
                    </a:cubicBezTo>
                    <a:cubicBezTo>
                      <a:pt x="203" y="92"/>
                      <a:pt x="200" y="100"/>
                      <a:pt x="194" y="106"/>
                    </a:cubicBezTo>
                    <a:cubicBezTo>
                      <a:pt x="180" y="119"/>
                      <a:pt x="157" y="119"/>
                      <a:pt x="144" y="106"/>
                    </a:cubicBezTo>
                    <a:cubicBezTo>
                      <a:pt x="130" y="92"/>
                      <a:pt x="130" y="70"/>
                      <a:pt x="144" y="56"/>
                    </a:cubicBezTo>
                    <a:cubicBezTo>
                      <a:pt x="150" y="50"/>
                      <a:pt x="158" y="46"/>
                      <a:pt x="166" y="46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75" y="50"/>
                      <a:pt x="75" y="50"/>
                      <a:pt x="75" y="50"/>
                    </a:cubicBezTo>
                    <a:cubicBezTo>
                      <a:pt x="73" y="52"/>
                      <a:pt x="71" y="52"/>
                      <a:pt x="69" y="52"/>
                    </a:cubicBezTo>
                    <a:cubicBezTo>
                      <a:pt x="66" y="52"/>
                      <a:pt x="64" y="52"/>
                      <a:pt x="63" y="50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50" y="37"/>
                      <a:pt x="49" y="35"/>
                      <a:pt x="49" y="32"/>
                    </a:cubicBezTo>
                    <a:cubicBezTo>
                      <a:pt x="49" y="27"/>
                      <a:pt x="47" y="22"/>
                      <a:pt x="44" y="19"/>
                    </a:cubicBezTo>
                    <a:cubicBezTo>
                      <a:pt x="37" y="12"/>
                      <a:pt x="26" y="12"/>
                      <a:pt x="19" y="19"/>
                    </a:cubicBezTo>
                    <a:cubicBezTo>
                      <a:pt x="16" y="22"/>
                      <a:pt x="14" y="26"/>
                      <a:pt x="14" y="31"/>
                    </a:cubicBezTo>
                    <a:cubicBezTo>
                      <a:pt x="14" y="36"/>
                      <a:pt x="16" y="40"/>
                      <a:pt x="19" y="44"/>
                    </a:cubicBezTo>
                    <a:cubicBezTo>
                      <a:pt x="22" y="47"/>
                      <a:pt x="27" y="49"/>
                      <a:pt x="32" y="49"/>
                    </a:cubicBezTo>
                    <a:cubicBezTo>
                      <a:pt x="35" y="49"/>
                      <a:pt x="37" y="49"/>
                      <a:pt x="39" y="51"/>
                    </a:cubicBezTo>
                    <a:cubicBezTo>
                      <a:pt x="50" y="62"/>
                      <a:pt x="50" y="62"/>
                      <a:pt x="50" y="62"/>
                    </a:cubicBezTo>
                    <a:cubicBezTo>
                      <a:pt x="54" y="66"/>
                      <a:pt x="54" y="71"/>
                      <a:pt x="50" y="7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41" y="166"/>
                      <a:pt x="41" y="166"/>
                      <a:pt x="41" y="166"/>
                    </a:cubicBezTo>
                    <a:cubicBezTo>
                      <a:pt x="43" y="160"/>
                      <a:pt x="46" y="154"/>
                      <a:pt x="50" y="150"/>
                    </a:cubicBezTo>
                    <a:cubicBezTo>
                      <a:pt x="64" y="136"/>
                      <a:pt x="86" y="136"/>
                      <a:pt x="100" y="150"/>
                    </a:cubicBezTo>
                    <a:cubicBezTo>
                      <a:pt x="107" y="156"/>
                      <a:pt x="110" y="165"/>
                      <a:pt x="110" y="175"/>
                    </a:cubicBezTo>
                    <a:cubicBezTo>
                      <a:pt x="110" y="184"/>
                      <a:pt x="107" y="193"/>
                      <a:pt x="100" y="200"/>
                    </a:cubicBezTo>
                    <a:cubicBezTo>
                      <a:pt x="96" y="204"/>
                      <a:pt x="90" y="207"/>
                      <a:pt x="84" y="209"/>
                    </a:cubicBezTo>
                    <a:cubicBezTo>
                      <a:pt x="125" y="250"/>
                      <a:pt x="125" y="250"/>
                      <a:pt x="125" y="250"/>
                    </a:cubicBezTo>
                    <a:cubicBezTo>
                      <a:pt x="175" y="200"/>
                      <a:pt x="175" y="200"/>
                      <a:pt x="175" y="200"/>
                    </a:cubicBezTo>
                    <a:cubicBezTo>
                      <a:pt x="178" y="196"/>
                      <a:pt x="184" y="196"/>
                      <a:pt x="187" y="200"/>
                    </a:cubicBezTo>
                    <a:close/>
                  </a:path>
                </a:pathLst>
              </a:custGeom>
              <a:grpFill/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31">
                <a:extLst>
                  <a:ext uri="{FF2B5EF4-FFF2-40B4-BE49-F238E27FC236}">
                    <a16:creationId xmlns:a16="http://schemas.microsoft.com/office/drawing/2014/main" id="{675E9AE5-0DBB-4679-A62B-FC317A8C6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4" y="1898"/>
                <a:ext cx="519" cy="522"/>
              </a:xfrm>
              <a:custGeom>
                <a:avLst/>
                <a:gdLst>
                  <a:gd name="T0" fmla="*/ 199 w 249"/>
                  <a:gd name="T1" fmla="*/ 100 h 250"/>
                  <a:gd name="T2" fmla="*/ 150 w 249"/>
                  <a:gd name="T3" fmla="*/ 100 h 250"/>
                  <a:gd name="T4" fmla="*/ 139 w 249"/>
                  <a:gd name="T5" fmla="*/ 75 h 250"/>
                  <a:gd name="T6" fmla="*/ 150 w 249"/>
                  <a:gd name="T7" fmla="*/ 50 h 250"/>
                  <a:gd name="T8" fmla="*/ 165 w 249"/>
                  <a:gd name="T9" fmla="*/ 41 h 250"/>
                  <a:gd name="T10" fmla="*/ 125 w 249"/>
                  <a:gd name="T11" fmla="*/ 0 h 250"/>
                  <a:gd name="T12" fmla="*/ 75 w 249"/>
                  <a:gd name="T13" fmla="*/ 50 h 250"/>
                  <a:gd name="T14" fmla="*/ 62 w 249"/>
                  <a:gd name="T15" fmla="*/ 50 h 250"/>
                  <a:gd name="T16" fmla="*/ 57 w 249"/>
                  <a:gd name="T17" fmla="*/ 45 h 250"/>
                  <a:gd name="T18" fmla="*/ 55 w 249"/>
                  <a:gd name="T19" fmla="*/ 38 h 250"/>
                  <a:gd name="T20" fmla="*/ 50 w 249"/>
                  <a:gd name="T21" fmla="*/ 25 h 250"/>
                  <a:gd name="T22" fmla="*/ 25 w 249"/>
                  <a:gd name="T23" fmla="*/ 25 h 250"/>
                  <a:gd name="T24" fmla="*/ 25 w 249"/>
                  <a:gd name="T25" fmla="*/ 50 h 250"/>
                  <a:gd name="T26" fmla="*/ 37 w 249"/>
                  <a:gd name="T27" fmla="*/ 55 h 250"/>
                  <a:gd name="T28" fmla="*/ 38 w 249"/>
                  <a:gd name="T29" fmla="*/ 55 h 250"/>
                  <a:gd name="T30" fmla="*/ 45 w 249"/>
                  <a:gd name="T31" fmla="*/ 57 h 250"/>
                  <a:gd name="T32" fmla="*/ 50 w 249"/>
                  <a:gd name="T33" fmla="*/ 62 h 250"/>
                  <a:gd name="T34" fmla="*/ 50 w 249"/>
                  <a:gd name="T35" fmla="*/ 75 h 250"/>
                  <a:gd name="T36" fmla="*/ 0 w 249"/>
                  <a:gd name="T37" fmla="*/ 125 h 250"/>
                  <a:gd name="T38" fmla="*/ 43 w 249"/>
                  <a:gd name="T39" fmla="*/ 168 h 250"/>
                  <a:gd name="T40" fmla="*/ 46 w 249"/>
                  <a:gd name="T41" fmla="*/ 166 h 250"/>
                  <a:gd name="T42" fmla="*/ 56 w 249"/>
                  <a:gd name="T43" fmla="*/ 143 h 250"/>
                  <a:gd name="T44" fmla="*/ 106 w 249"/>
                  <a:gd name="T45" fmla="*/ 143 h 250"/>
                  <a:gd name="T46" fmla="*/ 106 w 249"/>
                  <a:gd name="T47" fmla="*/ 193 h 250"/>
                  <a:gd name="T48" fmla="*/ 83 w 249"/>
                  <a:gd name="T49" fmla="*/ 204 h 250"/>
                  <a:gd name="T50" fmla="*/ 81 w 249"/>
                  <a:gd name="T51" fmla="*/ 206 h 250"/>
                  <a:gd name="T52" fmla="*/ 125 w 249"/>
                  <a:gd name="T53" fmla="*/ 250 h 250"/>
                  <a:gd name="T54" fmla="*/ 174 w 249"/>
                  <a:gd name="T55" fmla="*/ 200 h 250"/>
                  <a:gd name="T56" fmla="*/ 181 w 249"/>
                  <a:gd name="T57" fmla="*/ 197 h 250"/>
                  <a:gd name="T58" fmla="*/ 187 w 249"/>
                  <a:gd name="T59" fmla="*/ 200 h 250"/>
                  <a:gd name="T60" fmla="*/ 198 w 249"/>
                  <a:gd name="T61" fmla="*/ 211 h 250"/>
                  <a:gd name="T62" fmla="*/ 201 w 249"/>
                  <a:gd name="T63" fmla="*/ 217 h 250"/>
                  <a:gd name="T64" fmla="*/ 206 w 249"/>
                  <a:gd name="T65" fmla="*/ 231 h 250"/>
                  <a:gd name="T66" fmla="*/ 231 w 249"/>
                  <a:gd name="T67" fmla="*/ 231 h 250"/>
                  <a:gd name="T68" fmla="*/ 236 w 249"/>
                  <a:gd name="T69" fmla="*/ 218 h 250"/>
                  <a:gd name="T70" fmla="*/ 231 w 249"/>
                  <a:gd name="T71" fmla="*/ 206 h 250"/>
                  <a:gd name="T72" fmla="*/ 217 w 249"/>
                  <a:gd name="T73" fmla="*/ 201 h 250"/>
                  <a:gd name="T74" fmla="*/ 211 w 249"/>
                  <a:gd name="T75" fmla="*/ 198 h 250"/>
                  <a:gd name="T76" fmla="*/ 199 w 249"/>
                  <a:gd name="T77" fmla="*/ 187 h 250"/>
                  <a:gd name="T78" fmla="*/ 199 w 249"/>
                  <a:gd name="T79" fmla="*/ 175 h 250"/>
                  <a:gd name="T80" fmla="*/ 249 w 249"/>
                  <a:gd name="T81" fmla="*/ 125 h 250"/>
                  <a:gd name="T82" fmla="*/ 209 w 249"/>
                  <a:gd name="T83" fmla="*/ 84 h 250"/>
                  <a:gd name="T84" fmla="*/ 199 w 249"/>
                  <a:gd name="T85" fmla="*/ 10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250">
                    <a:moveTo>
                      <a:pt x="199" y="100"/>
                    </a:moveTo>
                    <a:cubicBezTo>
                      <a:pt x="186" y="113"/>
                      <a:pt x="163" y="113"/>
                      <a:pt x="150" y="100"/>
                    </a:cubicBezTo>
                    <a:cubicBezTo>
                      <a:pt x="143" y="93"/>
                      <a:pt x="139" y="84"/>
                      <a:pt x="139" y="75"/>
                    </a:cubicBezTo>
                    <a:cubicBezTo>
                      <a:pt x="139" y="65"/>
                      <a:pt x="143" y="57"/>
                      <a:pt x="150" y="50"/>
                    </a:cubicBezTo>
                    <a:cubicBezTo>
                      <a:pt x="154" y="45"/>
                      <a:pt x="159" y="42"/>
                      <a:pt x="165" y="41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75" y="50"/>
                      <a:pt x="75" y="50"/>
                      <a:pt x="75" y="50"/>
                    </a:cubicBezTo>
                    <a:cubicBezTo>
                      <a:pt x="71" y="53"/>
                      <a:pt x="66" y="53"/>
                      <a:pt x="62" y="50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5" y="43"/>
                      <a:pt x="55" y="41"/>
                      <a:pt x="55" y="38"/>
                    </a:cubicBezTo>
                    <a:cubicBezTo>
                      <a:pt x="55" y="33"/>
                      <a:pt x="53" y="28"/>
                      <a:pt x="50" y="25"/>
                    </a:cubicBezTo>
                    <a:cubicBezTo>
                      <a:pt x="43" y="18"/>
                      <a:pt x="31" y="18"/>
                      <a:pt x="25" y="25"/>
                    </a:cubicBezTo>
                    <a:cubicBezTo>
                      <a:pt x="18" y="32"/>
                      <a:pt x="18" y="43"/>
                      <a:pt x="25" y="50"/>
                    </a:cubicBezTo>
                    <a:cubicBezTo>
                      <a:pt x="28" y="53"/>
                      <a:pt x="32" y="55"/>
                      <a:pt x="37" y="55"/>
                    </a:cubicBezTo>
                    <a:cubicBezTo>
                      <a:pt x="38" y="55"/>
                      <a:pt x="38" y="55"/>
                      <a:pt x="38" y="55"/>
                    </a:cubicBezTo>
                    <a:cubicBezTo>
                      <a:pt x="41" y="55"/>
                      <a:pt x="43" y="56"/>
                      <a:pt x="45" y="57"/>
                    </a:cubicBezTo>
                    <a:cubicBezTo>
                      <a:pt x="50" y="62"/>
                      <a:pt x="50" y="62"/>
                      <a:pt x="50" y="62"/>
                    </a:cubicBezTo>
                    <a:cubicBezTo>
                      <a:pt x="53" y="66"/>
                      <a:pt x="53" y="71"/>
                      <a:pt x="50" y="7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43" y="168"/>
                      <a:pt x="43" y="168"/>
                      <a:pt x="43" y="168"/>
                    </a:cubicBezTo>
                    <a:cubicBezTo>
                      <a:pt x="46" y="166"/>
                      <a:pt x="46" y="166"/>
                      <a:pt x="46" y="166"/>
                    </a:cubicBezTo>
                    <a:cubicBezTo>
                      <a:pt x="46" y="158"/>
                      <a:pt x="50" y="150"/>
                      <a:pt x="56" y="143"/>
                    </a:cubicBezTo>
                    <a:cubicBezTo>
                      <a:pt x="70" y="130"/>
                      <a:pt x="92" y="130"/>
                      <a:pt x="106" y="143"/>
                    </a:cubicBezTo>
                    <a:cubicBezTo>
                      <a:pt x="120" y="157"/>
                      <a:pt x="120" y="180"/>
                      <a:pt x="106" y="193"/>
                    </a:cubicBezTo>
                    <a:cubicBezTo>
                      <a:pt x="100" y="199"/>
                      <a:pt x="92" y="203"/>
                      <a:pt x="83" y="204"/>
                    </a:cubicBezTo>
                    <a:cubicBezTo>
                      <a:pt x="81" y="206"/>
                      <a:pt x="81" y="206"/>
                      <a:pt x="81" y="206"/>
                    </a:cubicBezTo>
                    <a:cubicBezTo>
                      <a:pt x="125" y="250"/>
                      <a:pt x="125" y="250"/>
                      <a:pt x="125" y="250"/>
                    </a:cubicBezTo>
                    <a:cubicBezTo>
                      <a:pt x="174" y="200"/>
                      <a:pt x="174" y="200"/>
                      <a:pt x="174" y="200"/>
                    </a:cubicBezTo>
                    <a:cubicBezTo>
                      <a:pt x="176" y="198"/>
                      <a:pt x="178" y="197"/>
                      <a:pt x="181" y="197"/>
                    </a:cubicBezTo>
                    <a:cubicBezTo>
                      <a:pt x="183" y="197"/>
                      <a:pt x="185" y="198"/>
                      <a:pt x="187" y="200"/>
                    </a:cubicBezTo>
                    <a:cubicBezTo>
                      <a:pt x="198" y="211"/>
                      <a:pt x="198" y="211"/>
                      <a:pt x="198" y="211"/>
                    </a:cubicBezTo>
                    <a:cubicBezTo>
                      <a:pt x="200" y="213"/>
                      <a:pt x="201" y="215"/>
                      <a:pt x="201" y="217"/>
                    </a:cubicBezTo>
                    <a:cubicBezTo>
                      <a:pt x="200" y="223"/>
                      <a:pt x="202" y="227"/>
                      <a:pt x="206" y="231"/>
                    </a:cubicBezTo>
                    <a:cubicBezTo>
                      <a:pt x="213" y="238"/>
                      <a:pt x="224" y="238"/>
                      <a:pt x="231" y="231"/>
                    </a:cubicBezTo>
                    <a:cubicBezTo>
                      <a:pt x="234" y="228"/>
                      <a:pt x="236" y="223"/>
                      <a:pt x="236" y="218"/>
                    </a:cubicBezTo>
                    <a:cubicBezTo>
                      <a:pt x="236" y="214"/>
                      <a:pt x="234" y="209"/>
                      <a:pt x="231" y="206"/>
                    </a:cubicBezTo>
                    <a:cubicBezTo>
                      <a:pt x="227" y="202"/>
                      <a:pt x="222" y="201"/>
                      <a:pt x="217" y="201"/>
                    </a:cubicBezTo>
                    <a:cubicBezTo>
                      <a:pt x="215" y="201"/>
                      <a:pt x="212" y="200"/>
                      <a:pt x="211" y="198"/>
                    </a:cubicBezTo>
                    <a:cubicBezTo>
                      <a:pt x="199" y="187"/>
                      <a:pt x="199" y="187"/>
                      <a:pt x="199" y="187"/>
                    </a:cubicBezTo>
                    <a:cubicBezTo>
                      <a:pt x="196" y="184"/>
                      <a:pt x="196" y="178"/>
                      <a:pt x="199" y="175"/>
                    </a:cubicBezTo>
                    <a:cubicBezTo>
                      <a:pt x="249" y="125"/>
                      <a:pt x="249" y="125"/>
                      <a:pt x="249" y="125"/>
                    </a:cubicBezTo>
                    <a:cubicBezTo>
                      <a:pt x="209" y="84"/>
                      <a:pt x="209" y="84"/>
                      <a:pt x="209" y="84"/>
                    </a:cubicBezTo>
                    <a:cubicBezTo>
                      <a:pt x="207" y="90"/>
                      <a:pt x="204" y="95"/>
                      <a:pt x="199" y="100"/>
                    </a:cubicBezTo>
                    <a:close/>
                  </a:path>
                </a:pathLst>
              </a:custGeom>
              <a:grpFill/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32">
                <a:extLst>
                  <a:ext uri="{FF2B5EF4-FFF2-40B4-BE49-F238E27FC236}">
                    <a16:creationId xmlns:a16="http://schemas.microsoft.com/office/drawing/2014/main" id="{91B28ECE-E027-47F7-83B8-3B54954CD7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45" y="1564"/>
                <a:ext cx="1186" cy="1186"/>
              </a:xfrm>
              <a:custGeom>
                <a:avLst/>
                <a:gdLst>
                  <a:gd name="T0" fmla="*/ 489 w 569"/>
                  <a:gd name="T1" fmla="*/ 234 h 568"/>
                  <a:gd name="T2" fmla="*/ 472 w 569"/>
                  <a:gd name="T3" fmla="*/ 217 h 568"/>
                  <a:gd name="T4" fmla="*/ 378 w 569"/>
                  <a:gd name="T5" fmla="*/ 91 h 568"/>
                  <a:gd name="T6" fmla="*/ 353 w 569"/>
                  <a:gd name="T7" fmla="*/ 29 h 568"/>
                  <a:gd name="T8" fmla="*/ 222 w 569"/>
                  <a:gd name="T9" fmla="*/ 60 h 568"/>
                  <a:gd name="T10" fmla="*/ 234 w 569"/>
                  <a:gd name="T11" fmla="*/ 80 h 568"/>
                  <a:gd name="T12" fmla="*/ 217 w 569"/>
                  <a:gd name="T13" fmla="*/ 97 h 568"/>
                  <a:gd name="T14" fmla="*/ 91 w 569"/>
                  <a:gd name="T15" fmla="*/ 191 h 568"/>
                  <a:gd name="T16" fmla="*/ 28 w 569"/>
                  <a:gd name="T17" fmla="*/ 216 h 568"/>
                  <a:gd name="T18" fmla="*/ 60 w 569"/>
                  <a:gd name="T19" fmla="*/ 347 h 568"/>
                  <a:gd name="T20" fmla="*/ 109 w 569"/>
                  <a:gd name="T21" fmla="*/ 322 h 568"/>
                  <a:gd name="T22" fmla="*/ 85 w 569"/>
                  <a:gd name="T23" fmla="*/ 360 h 568"/>
                  <a:gd name="T24" fmla="*/ 188 w 569"/>
                  <a:gd name="T25" fmla="*/ 481 h 568"/>
                  <a:gd name="T26" fmla="*/ 226 w 569"/>
                  <a:gd name="T27" fmla="*/ 518 h 568"/>
                  <a:gd name="T28" fmla="*/ 347 w 569"/>
                  <a:gd name="T29" fmla="*/ 509 h 568"/>
                  <a:gd name="T30" fmla="*/ 317 w 569"/>
                  <a:gd name="T31" fmla="*/ 472 h 568"/>
                  <a:gd name="T32" fmla="*/ 359 w 569"/>
                  <a:gd name="T33" fmla="*/ 484 h 568"/>
                  <a:gd name="T34" fmla="*/ 480 w 569"/>
                  <a:gd name="T35" fmla="*/ 381 h 568"/>
                  <a:gd name="T36" fmla="*/ 517 w 569"/>
                  <a:gd name="T37" fmla="*/ 343 h 568"/>
                  <a:gd name="T38" fmla="*/ 200 w 569"/>
                  <a:gd name="T39" fmla="*/ 107 h 568"/>
                  <a:gd name="T40" fmla="*/ 243 w 569"/>
                  <a:gd name="T41" fmla="*/ 63 h 568"/>
                  <a:gd name="T42" fmla="*/ 360 w 569"/>
                  <a:gd name="T43" fmla="*/ 55 h 568"/>
                  <a:gd name="T44" fmla="*/ 377 w 569"/>
                  <a:gd name="T45" fmla="*/ 71 h 568"/>
                  <a:gd name="T46" fmla="*/ 368 w 569"/>
                  <a:gd name="T47" fmla="*/ 188 h 568"/>
                  <a:gd name="T48" fmla="*/ 284 w 569"/>
                  <a:gd name="T49" fmla="*/ 272 h 568"/>
                  <a:gd name="T50" fmla="*/ 208 w 569"/>
                  <a:gd name="T51" fmla="*/ 240 h 568"/>
                  <a:gd name="T52" fmla="*/ 192 w 569"/>
                  <a:gd name="T53" fmla="*/ 224 h 568"/>
                  <a:gd name="T54" fmla="*/ 159 w 569"/>
                  <a:gd name="T55" fmla="*/ 147 h 568"/>
                  <a:gd name="T56" fmla="*/ 122 w 569"/>
                  <a:gd name="T57" fmla="*/ 310 h 568"/>
                  <a:gd name="T58" fmla="*/ 72 w 569"/>
                  <a:gd name="T59" fmla="*/ 222 h 568"/>
                  <a:gd name="T60" fmla="*/ 41 w 569"/>
                  <a:gd name="T61" fmla="*/ 179 h 568"/>
                  <a:gd name="T62" fmla="*/ 91 w 569"/>
                  <a:gd name="T63" fmla="*/ 212 h 568"/>
                  <a:gd name="T64" fmla="*/ 166 w 569"/>
                  <a:gd name="T65" fmla="*/ 216 h 568"/>
                  <a:gd name="T66" fmla="*/ 272 w 569"/>
                  <a:gd name="T67" fmla="*/ 285 h 568"/>
                  <a:gd name="T68" fmla="*/ 240 w 569"/>
                  <a:gd name="T69" fmla="*/ 361 h 568"/>
                  <a:gd name="T70" fmla="*/ 220 w 569"/>
                  <a:gd name="T71" fmla="*/ 371 h 568"/>
                  <a:gd name="T72" fmla="*/ 368 w 569"/>
                  <a:gd name="T73" fmla="*/ 463 h 568"/>
                  <a:gd name="T74" fmla="*/ 325 w 569"/>
                  <a:gd name="T75" fmla="*/ 506 h 568"/>
                  <a:gd name="T76" fmla="*/ 208 w 569"/>
                  <a:gd name="T77" fmla="*/ 515 h 568"/>
                  <a:gd name="T78" fmla="*/ 198 w 569"/>
                  <a:gd name="T79" fmla="*/ 496 h 568"/>
                  <a:gd name="T80" fmla="*/ 205 w 569"/>
                  <a:gd name="T81" fmla="*/ 381 h 568"/>
                  <a:gd name="T82" fmla="*/ 243 w 569"/>
                  <a:gd name="T83" fmla="*/ 343 h 568"/>
                  <a:gd name="T84" fmla="*/ 358 w 569"/>
                  <a:gd name="T85" fmla="*/ 336 h 568"/>
                  <a:gd name="T86" fmla="*/ 377 w 569"/>
                  <a:gd name="T87" fmla="*/ 346 h 568"/>
                  <a:gd name="T88" fmla="*/ 409 w 569"/>
                  <a:gd name="T89" fmla="*/ 422 h 568"/>
                  <a:gd name="T90" fmla="*/ 514 w 569"/>
                  <a:gd name="T91" fmla="*/ 361 h 568"/>
                  <a:gd name="T92" fmla="*/ 498 w 569"/>
                  <a:gd name="T93" fmla="*/ 377 h 568"/>
                  <a:gd name="T94" fmla="*/ 422 w 569"/>
                  <a:gd name="T95" fmla="*/ 410 h 568"/>
                  <a:gd name="T96" fmla="*/ 353 w 569"/>
                  <a:gd name="T97" fmla="*/ 303 h 568"/>
                  <a:gd name="T98" fmla="*/ 347 w 569"/>
                  <a:gd name="T99" fmla="*/ 222 h 568"/>
                  <a:gd name="T100" fmla="*/ 322 w 569"/>
                  <a:gd name="T101" fmla="*/ 185 h 568"/>
                  <a:gd name="T102" fmla="*/ 372 w 569"/>
                  <a:gd name="T103" fmla="*/ 210 h 568"/>
                  <a:gd name="T104" fmla="*/ 447 w 569"/>
                  <a:gd name="T105" fmla="*/ 260 h 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69" h="568">
                    <a:moveTo>
                      <a:pt x="509" y="222"/>
                    </a:moveTo>
                    <a:cubicBezTo>
                      <a:pt x="507" y="221"/>
                      <a:pt x="505" y="220"/>
                      <a:pt x="503" y="220"/>
                    </a:cubicBezTo>
                    <a:cubicBezTo>
                      <a:pt x="500" y="220"/>
                      <a:pt x="498" y="221"/>
                      <a:pt x="496" y="222"/>
                    </a:cubicBezTo>
                    <a:cubicBezTo>
                      <a:pt x="492" y="227"/>
                      <a:pt x="492" y="227"/>
                      <a:pt x="492" y="227"/>
                    </a:cubicBezTo>
                    <a:cubicBezTo>
                      <a:pt x="490" y="229"/>
                      <a:pt x="489" y="231"/>
                      <a:pt x="489" y="234"/>
                    </a:cubicBezTo>
                    <a:cubicBezTo>
                      <a:pt x="489" y="239"/>
                      <a:pt x="487" y="244"/>
                      <a:pt x="484" y="247"/>
                    </a:cubicBezTo>
                    <a:cubicBezTo>
                      <a:pt x="477" y="254"/>
                      <a:pt x="466" y="254"/>
                      <a:pt x="459" y="247"/>
                    </a:cubicBezTo>
                    <a:cubicBezTo>
                      <a:pt x="456" y="244"/>
                      <a:pt x="454" y="240"/>
                      <a:pt x="454" y="235"/>
                    </a:cubicBezTo>
                    <a:cubicBezTo>
                      <a:pt x="454" y="230"/>
                      <a:pt x="456" y="226"/>
                      <a:pt x="459" y="222"/>
                    </a:cubicBezTo>
                    <a:cubicBezTo>
                      <a:pt x="463" y="219"/>
                      <a:pt x="467" y="217"/>
                      <a:pt x="472" y="217"/>
                    </a:cubicBezTo>
                    <a:cubicBezTo>
                      <a:pt x="475" y="217"/>
                      <a:pt x="477" y="217"/>
                      <a:pt x="479" y="215"/>
                    </a:cubicBezTo>
                    <a:cubicBezTo>
                      <a:pt x="484" y="210"/>
                      <a:pt x="484" y="210"/>
                      <a:pt x="484" y="210"/>
                    </a:cubicBezTo>
                    <a:cubicBezTo>
                      <a:pt x="487" y="206"/>
                      <a:pt x="487" y="201"/>
                      <a:pt x="484" y="197"/>
                    </a:cubicBezTo>
                    <a:cubicBezTo>
                      <a:pt x="428" y="141"/>
                      <a:pt x="428" y="141"/>
                      <a:pt x="428" y="141"/>
                    </a:cubicBezTo>
                    <a:cubicBezTo>
                      <a:pt x="378" y="91"/>
                      <a:pt x="378" y="91"/>
                      <a:pt x="378" y="91"/>
                    </a:cubicBezTo>
                    <a:cubicBezTo>
                      <a:pt x="380" y="89"/>
                      <a:pt x="380" y="89"/>
                      <a:pt x="380" y="89"/>
                    </a:cubicBezTo>
                    <a:cubicBezTo>
                      <a:pt x="389" y="88"/>
                      <a:pt x="397" y="85"/>
                      <a:pt x="403" y="79"/>
                    </a:cubicBezTo>
                    <a:cubicBezTo>
                      <a:pt x="410" y="72"/>
                      <a:pt x="413" y="63"/>
                      <a:pt x="413" y="54"/>
                    </a:cubicBezTo>
                    <a:cubicBezTo>
                      <a:pt x="413" y="44"/>
                      <a:pt x="410" y="36"/>
                      <a:pt x="403" y="29"/>
                    </a:cubicBezTo>
                    <a:cubicBezTo>
                      <a:pt x="390" y="16"/>
                      <a:pt x="366" y="16"/>
                      <a:pt x="353" y="29"/>
                    </a:cubicBezTo>
                    <a:cubicBezTo>
                      <a:pt x="347" y="35"/>
                      <a:pt x="343" y="43"/>
                      <a:pt x="343" y="52"/>
                    </a:cubicBezTo>
                    <a:cubicBezTo>
                      <a:pt x="340" y="54"/>
                      <a:pt x="340" y="54"/>
                      <a:pt x="340" y="54"/>
                    </a:cubicBezTo>
                    <a:cubicBezTo>
                      <a:pt x="291" y="4"/>
                      <a:pt x="291" y="4"/>
                      <a:pt x="291" y="4"/>
                    </a:cubicBezTo>
                    <a:cubicBezTo>
                      <a:pt x="287" y="0"/>
                      <a:pt x="281" y="0"/>
                      <a:pt x="278" y="4"/>
                    </a:cubicBezTo>
                    <a:cubicBezTo>
                      <a:pt x="222" y="60"/>
                      <a:pt x="222" y="60"/>
                      <a:pt x="222" y="60"/>
                    </a:cubicBezTo>
                    <a:cubicBezTo>
                      <a:pt x="220" y="62"/>
                      <a:pt x="219" y="64"/>
                      <a:pt x="219" y="66"/>
                    </a:cubicBezTo>
                    <a:cubicBezTo>
                      <a:pt x="219" y="69"/>
                      <a:pt x="220" y="71"/>
                      <a:pt x="222" y="73"/>
                    </a:cubicBezTo>
                    <a:cubicBezTo>
                      <a:pt x="227" y="77"/>
                      <a:pt x="227" y="77"/>
                      <a:pt x="227" y="77"/>
                    </a:cubicBezTo>
                    <a:cubicBezTo>
                      <a:pt x="228" y="79"/>
                      <a:pt x="231" y="80"/>
                      <a:pt x="233" y="80"/>
                    </a:cubicBezTo>
                    <a:cubicBezTo>
                      <a:pt x="234" y="80"/>
                      <a:pt x="234" y="80"/>
                      <a:pt x="234" y="80"/>
                    </a:cubicBezTo>
                    <a:cubicBezTo>
                      <a:pt x="239" y="80"/>
                      <a:pt x="244" y="82"/>
                      <a:pt x="247" y="85"/>
                    </a:cubicBezTo>
                    <a:cubicBezTo>
                      <a:pt x="250" y="88"/>
                      <a:pt x="252" y="93"/>
                      <a:pt x="252" y="98"/>
                    </a:cubicBezTo>
                    <a:cubicBezTo>
                      <a:pt x="252" y="102"/>
                      <a:pt x="250" y="107"/>
                      <a:pt x="247" y="110"/>
                    </a:cubicBezTo>
                    <a:cubicBezTo>
                      <a:pt x="240" y="117"/>
                      <a:pt x="229" y="117"/>
                      <a:pt x="222" y="110"/>
                    </a:cubicBezTo>
                    <a:cubicBezTo>
                      <a:pt x="218" y="106"/>
                      <a:pt x="217" y="102"/>
                      <a:pt x="217" y="97"/>
                    </a:cubicBezTo>
                    <a:cubicBezTo>
                      <a:pt x="217" y="94"/>
                      <a:pt x="216" y="92"/>
                      <a:pt x="214" y="90"/>
                    </a:cubicBezTo>
                    <a:cubicBezTo>
                      <a:pt x="209" y="85"/>
                      <a:pt x="209" y="85"/>
                      <a:pt x="209" y="85"/>
                    </a:cubicBezTo>
                    <a:cubicBezTo>
                      <a:pt x="206" y="82"/>
                      <a:pt x="200" y="82"/>
                      <a:pt x="197" y="85"/>
                    </a:cubicBezTo>
                    <a:cubicBezTo>
                      <a:pt x="141" y="141"/>
                      <a:pt x="141" y="141"/>
                      <a:pt x="141" y="141"/>
                    </a:cubicBezTo>
                    <a:cubicBezTo>
                      <a:pt x="91" y="191"/>
                      <a:pt x="91" y="191"/>
                      <a:pt x="91" y="191"/>
                    </a:cubicBezTo>
                    <a:cubicBezTo>
                      <a:pt x="88" y="189"/>
                      <a:pt x="88" y="189"/>
                      <a:pt x="88" y="189"/>
                    </a:cubicBezTo>
                    <a:cubicBezTo>
                      <a:pt x="88" y="180"/>
                      <a:pt x="84" y="172"/>
                      <a:pt x="78" y="166"/>
                    </a:cubicBezTo>
                    <a:cubicBezTo>
                      <a:pt x="65" y="153"/>
                      <a:pt x="42" y="153"/>
                      <a:pt x="28" y="166"/>
                    </a:cubicBezTo>
                    <a:cubicBezTo>
                      <a:pt x="22" y="173"/>
                      <a:pt x="18" y="182"/>
                      <a:pt x="18" y="191"/>
                    </a:cubicBezTo>
                    <a:cubicBezTo>
                      <a:pt x="18" y="201"/>
                      <a:pt x="22" y="209"/>
                      <a:pt x="28" y="216"/>
                    </a:cubicBezTo>
                    <a:cubicBezTo>
                      <a:pt x="34" y="222"/>
                      <a:pt x="42" y="226"/>
                      <a:pt x="51" y="226"/>
                    </a:cubicBezTo>
                    <a:cubicBezTo>
                      <a:pt x="53" y="229"/>
                      <a:pt x="53" y="229"/>
                      <a:pt x="53" y="229"/>
                    </a:cubicBezTo>
                    <a:cubicBezTo>
                      <a:pt x="3" y="278"/>
                      <a:pt x="3" y="278"/>
                      <a:pt x="3" y="278"/>
                    </a:cubicBezTo>
                    <a:cubicBezTo>
                      <a:pt x="0" y="282"/>
                      <a:pt x="0" y="288"/>
                      <a:pt x="3" y="291"/>
                    </a:cubicBezTo>
                    <a:cubicBezTo>
                      <a:pt x="60" y="347"/>
                      <a:pt x="60" y="347"/>
                      <a:pt x="60" y="347"/>
                    </a:cubicBezTo>
                    <a:cubicBezTo>
                      <a:pt x="63" y="351"/>
                      <a:pt x="69" y="351"/>
                      <a:pt x="72" y="347"/>
                    </a:cubicBezTo>
                    <a:cubicBezTo>
                      <a:pt x="77" y="342"/>
                      <a:pt x="77" y="342"/>
                      <a:pt x="77" y="342"/>
                    </a:cubicBezTo>
                    <a:cubicBezTo>
                      <a:pt x="79" y="341"/>
                      <a:pt x="80" y="338"/>
                      <a:pt x="80" y="336"/>
                    </a:cubicBezTo>
                    <a:cubicBezTo>
                      <a:pt x="79" y="330"/>
                      <a:pt x="81" y="326"/>
                      <a:pt x="85" y="322"/>
                    </a:cubicBezTo>
                    <a:cubicBezTo>
                      <a:pt x="91" y="316"/>
                      <a:pt x="103" y="316"/>
                      <a:pt x="109" y="322"/>
                    </a:cubicBezTo>
                    <a:cubicBezTo>
                      <a:pt x="113" y="326"/>
                      <a:pt x="115" y="330"/>
                      <a:pt x="115" y="335"/>
                    </a:cubicBezTo>
                    <a:cubicBezTo>
                      <a:pt x="115" y="339"/>
                      <a:pt x="113" y="344"/>
                      <a:pt x="109" y="347"/>
                    </a:cubicBezTo>
                    <a:cubicBezTo>
                      <a:pt x="106" y="351"/>
                      <a:pt x="101" y="352"/>
                      <a:pt x="96" y="352"/>
                    </a:cubicBezTo>
                    <a:cubicBezTo>
                      <a:pt x="94" y="352"/>
                      <a:pt x="91" y="353"/>
                      <a:pt x="89" y="355"/>
                    </a:cubicBezTo>
                    <a:cubicBezTo>
                      <a:pt x="85" y="360"/>
                      <a:pt x="85" y="360"/>
                      <a:pt x="85" y="360"/>
                    </a:cubicBezTo>
                    <a:cubicBezTo>
                      <a:pt x="81" y="363"/>
                      <a:pt x="81" y="369"/>
                      <a:pt x="85" y="372"/>
                    </a:cubicBezTo>
                    <a:cubicBezTo>
                      <a:pt x="141" y="428"/>
                      <a:pt x="141" y="428"/>
                      <a:pt x="141" y="428"/>
                    </a:cubicBezTo>
                    <a:cubicBezTo>
                      <a:pt x="141" y="428"/>
                      <a:pt x="141" y="428"/>
                      <a:pt x="141" y="428"/>
                    </a:cubicBezTo>
                    <a:cubicBezTo>
                      <a:pt x="191" y="478"/>
                      <a:pt x="191" y="478"/>
                      <a:pt x="191" y="478"/>
                    </a:cubicBezTo>
                    <a:cubicBezTo>
                      <a:pt x="188" y="481"/>
                      <a:pt x="188" y="481"/>
                      <a:pt x="188" y="481"/>
                    </a:cubicBezTo>
                    <a:cubicBezTo>
                      <a:pt x="180" y="481"/>
                      <a:pt x="172" y="485"/>
                      <a:pt x="166" y="491"/>
                    </a:cubicBezTo>
                    <a:cubicBezTo>
                      <a:pt x="152" y="504"/>
                      <a:pt x="152" y="527"/>
                      <a:pt x="166" y="541"/>
                    </a:cubicBezTo>
                    <a:cubicBezTo>
                      <a:pt x="172" y="547"/>
                      <a:pt x="181" y="551"/>
                      <a:pt x="191" y="551"/>
                    </a:cubicBezTo>
                    <a:cubicBezTo>
                      <a:pt x="200" y="551"/>
                      <a:pt x="209" y="547"/>
                      <a:pt x="216" y="541"/>
                    </a:cubicBezTo>
                    <a:cubicBezTo>
                      <a:pt x="222" y="535"/>
                      <a:pt x="225" y="527"/>
                      <a:pt x="226" y="518"/>
                    </a:cubicBezTo>
                    <a:cubicBezTo>
                      <a:pt x="228" y="516"/>
                      <a:pt x="228" y="516"/>
                      <a:pt x="228" y="516"/>
                    </a:cubicBezTo>
                    <a:cubicBezTo>
                      <a:pt x="278" y="566"/>
                      <a:pt x="278" y="566"/>
                      <a:pt x="278" y="566"/>
                    </a:cubicBezTo>
                    <a:cubicBezTo>
                      <a:pt x="280" y="567"/>
                      <a:pt x="282" y="568"/>
                      <a:pt x="284" y="568"/>
                    </a:cubicBezTo>
                    <a:cubicBezTo>
                      <a:pt x="287" y="568"/>
                      <a:pt x="289" y="567"/>
                      <a:pt x="291" y="566"/>
                    </a:cubicBezTo>
                    <a:cubicBezTo>
                      <a:pt x="347" y="509"/>
                      <a:pt x="347" y="509"/>
                      <a:pt x="347" y="509"/>
                    </a:cubicBezTo>
                    <a:cubicBezTo>
                      <a:pt x="350" y="506"/>
                      <a:pt x="350" y="500"/>
                      <a:pt x="347" y="497"/>
                    </a:cubicBezTo>
                    <a:cubicBezTo>
                      <a:pt x="342" y="492"/>
                      <a:pt x="342" y="492"/>
                      <a:pt x="342" y="492"/>
                    </a:cubicBezTo>
                    <a:cubicBezTo>
                      <a:pt x="340" y="490"/>
                      <a:pt x="338" y="489"/>
                      <a:pt x="335" y="489"/>
                    </a:cubicBezTo>
                    <a:cubicBezTo>
                      <a:pt x="330" y="490"/>
                      <a:pt x="325" y="488"/>
                      <a:pt x="322" y="484"/>
                    </a:cubicBezTo>
                    <a:cubicBezTo>
                      <a:pt x="318" y="481"/>
                      <a:pt x="317" y="477"/>
                      <a:pt x="317" y="472"/>
                    </a:cubicBezTo>
                    <a:cubicBezTo>
                      <a:pt x="317" y="467"/>
                      <a:pt x="318" y="463"/>
                      <a:pt x="322" y="460"/>
                    </a:cubicBezTo>
                    <a:cubicBezTo>
                      <a:pt x="328" y="453"/>
                      <a:pt x="340" y="453"/>
                      <a:pt x="347" y="460"/>
                    </a:cubicBezTo>
                    <a:cubicBezTo>
                      <a:pt x="350" y="463"/>
                      <a:pt x="352" y="468"/>
                      <a:pt x="352" y="473"/>
                    </a:cubicBezTo>
                    <a:cubicBezTo>
                      <a:pt x="352" y="475"/>
                      <a:pt x="352" y="478"/>
                      <a:pt x="354" y="480"/>
                    </a:cubicBezTo>
                    <a:cubicBezTo>
                      <a:pt x="359" y="484"/>
                      <a:pt x="359" y="484"/>
                      <a:pt x="359" y="484"/>
                    </a:cubicBezTo>
                    <a:cubicBezTo>
                      <a:pt x="363" y="488"/>
                      <a:pt x="368" y="488"/>
                      <a:pt x="372" y="484"/>
                    </a:cubicBezTo>
                    <a:cubicBezTo>
                      <a:pt x="428" y="428"/>
                      <a:pt x="428" y="428"/>
                      <a:pt x="428" y="428"/>
                    </a:cubicBezTo>
                    <a:cubicBezTo>
                      <a:pt x="428" y="428"/>
                      <a:pt x="428" y="428"/>
                      <a:pt x="428" y="428"/>
                    </a:cubicBezTo>
                    <a:cubicBezTo>
                      <a:pt x="478" y="378"/>
                      <a:pt x="478" y="378"/>
                      <a:pt x="478" y="378"/>
                    </a:cubicBezTo>
                    <a:cubicBezTo>
                      <a:pt x="480" y="381"/>
                      <a:pt x="480" y="381"/>
                      <a:pt x="480" y="381"/>
                    </a:cubicBezTo>
                    <a:cubicBezTo>
                      <a:pt x="481" y="389"/>
                      <a:pt x="484" y="397"/>
                      <a:pt x="490" y="403"/>
                    </a:cubicBezTo>
                    <a:cubicBezTo>
                      <a:pt x="504" y="417"/>
                      <a:pt x="526" y="417"/>
                      <a:pt x="540" y="403"/>
                    </a:cubicBezTo>
                    <a:cubicBezTo>
                      <a:pt x="547" y="397"/>
                      <a:pt x="551" y="388"/>
                      <a:pt x="551" y="378"/>
                    </a:cubicBezTo>
                    <a:cubicBezTo>
                      <a:pt x="551" y="369"/>
                      <a:pt x="547" y="360"/>
                      <a:pt x="540" y="353"/>
                    </a:cubicBezTo>
                    <a:cubicBezTo>
                      <a:pt x="534" y="347"/>
                      <a:pt x="526" y="344"/>
                      <a:pt x="517" y="343"/>
                    </a:cubicBezTo>
                    <a:cubicBezTo>
                      <a:pt x="515" y="341"/>
                      <a:pt x="515" y="341"/>
                      <a:pt x="515" y="341"/>
                    </a:cubicBezTo>
                    <a:cubicBezTo>
                      <a:pt x="565" y="291"/>
                      <a:pt x="565" y="291"/>
                      <a:pt x="565" y="291"/>
                    </a:cubicBezTo>
                    <a:cubicBezTo>
                      <a:pt x="569" y="288"/>
                      <a:pt x="569" y="282"/>
                      <a:pt x="565" y="278"/>
                    </a:cubicBezTo>
                    <a:lnTo>
                      <a:pt x="509" y="222"/>
                    </a:lnTo>
                    <a:close/>
                    <a:moveTo>
                      <a:pt x="200" y="107"/>
                    </a:moveTo>
                    <a:cubicBezTo>
                      <a:pt x="202" y="113"/>
                      <a:pt x="205" y="118"/>
                      <a:pt x="209" y="123"/>
                    </a:cubicBezTo>
                    <a:cubicBezTo>
                      <a:pt x="223" y="136"/>
                      <a:pt x="246" y="136"/>
                      <a:pt x="259" y="123"/>
                    </a:cubicBezTo>
                    <a:cubicBezTo>
                      <a:pt x="266" y="116"/>
                      <a:pt x="270" y="107"/>
                      <a:pt x="270" y="98"/>
                    </a:cubicBezTo>
                    <a:cubicBezTo>
                      <a:pt x="270" y="88"/>
                      <a:pt x="266" y="79"/>
                      <a:pt x="259" y="73"/>
                    </a:cubicBezTo>
                    <a:cubicBezTo>
                      <a:pt x="255" y="68"/>
                      <a:pt x="249" y="65"/>
                      <a:pt x="243" y="63"/>
                    </a:cubicBezTo>
                    <a:cubicBezTo>
                      <a:pt x="284" y="23"/>
                      <a:pt x="284" y="23"/>
                      <a:pt x="284" y="23"/>
                    </a:cubicBezTo>
                    <a:cubicBezTo>
                      <a:pt x="334" y="73"/>
                      <a:pt x="334" y="73"/>
                      <a:pt x="334" y="73"/>
                    </a:cubicBezTo>
                    <a:cubicBezTo>
                      <a:pt x="338" y="76"/>
                      <a:pt x="343" y="76"/>
                      <a:pt x="347" y="73"/>
                    </a:cubicBezTo>
                    <a:cubicBezTo>
                      <a:pt x="358" y="61"/>
                      <a:pt x="358" y="61"/>
                      <a:pt x="358" y="61"/>
                    </a:cubicBezTo>
                    <a:cubicBezTo>
                      <a:pt x="360" y="60"/>
                      <a:pt x="361" y="57"/>
                      <a:pt x="360" y="55"/>
                    </a:cubicBezTo>
                    <a:cubicBezTo>
                      <a:pt x="360" y="50"/>
                      <a:pt x="362" y="45"/>
                      <a:pt x="365" y="41"/>
                    </a:cubicBezTo>
                    <a:cubicBezTo>
                      <a:pt x="372" y="35"/>
                      <a:pt x="384" y="35"/>
                      <a:pt x="390" y="41"/>
                    </a:cubicBezTo>
                    <a:cubicBezTo>
                      <a:pt x="397" y="48"/>
                      <a:pt x="397" y="59"/>
                      <a:pt x="390" y="66"/>
                    </a:cubicBezTo>
                    <a:cubicBezTo>
                      <a:pt x="387" y="70"/>
                      <a:pt x="383" y="71"/>
                      <a:pt x="378" y="71"/>
                    </a:cubicBezTo>
                    <a:cubicBezTo>
                      <a:pt x="377" y="71"/>
                      <a:pt x="377" y="71"/>
                      <a:pt x="377" y="71"/>
                    </a:cubicBezTo>
                    <a:cubicBezTo>
                      <a:pt x="374" y="71"/>
                      <a:pt x="372" y="72"/>
                      <a:pt x="370" y="74"/>
                    </a:cubicBezTo>
                    <a:cubicBezTo>
                      <a:pt x="359" y="85"/>
                      <a:pt x="359" y="85"/>
                      <a:pt x="359" y="85"/>
                    </a:cubicBezTo>
                    <a:cubicBezTo>
                      <a:pt x="356" y="89"/>
                      <a:pt x="356" y="94"/>
                      <a:pt x="359" y="98"/>
                    </a:cubicBezTo>
                    <a:cubicBezTo>
                      <a:pt x="409" y="147"/>
                      <a:pt x="409" y="147"/>
                      <a:pt x="409" y="147"/>
                    </a:cubicBezTo>
                    <a:cubicBezTo>
                      <a:pt x="368" y="188"/>
                      <a:pt x="368" y="188"/>
                      <a:pt x="368" y="188"/>
                    </a:cubicBezTo>
                    <a:cubicBezTo>
                      <a:pt x="367" y="182"/>
                      <a:pt x="364" y="177"/>
                      <a:pt x="359" y="172"/>
                    </a:cubicBezTo>
                    <a:cubicBezTo>
                      <a:pt x="346" y="159"/>
                      <a:pt x="323" y="159"/>
                      <a:pt x="309" y="172"/>
                    </a:cubicBezTo>
                    <a:cubicBezTo>
                      <a:pt x="295" y="186"/>
                      <a:pt x="295" y="209"/>
                      <a:pt x="309" y="222"/>
                    </a:cubicBezTo>
                    <a:cubicBezTo>
                      <a:pt x="314" y="227"/>
                      <a:pt x="319" y="230"/>
                      <a:pt x="325" y="231"/>
                    </a:cubicBezTo>
                    <a:cubicBezTo>
                      <a:pt x="284" y="272"/>
                      <a:pt x="284" y="272"/>
                      <a:pt x="284" y="272"/>
                    </a:cubicBezTo>
                    <a:cubicBezTo>
                      <a:pt x="234" y="222"/>
                      <a:pt x="234" y="222"/>
                      <a:pt x="234" y="222"/>
                    </a:cubicBezTo>
                    <a:cubicBezTo>
                      <a:pt x="233" y="221"/>
                      <a:pt x="230" y="220"/>
                      <a:pt x="228" y="220"/>
                    </a:cubicBezTo>
                    <a:cubicBezTo>
                      <a:pt x="226" y="220"/>
                      <a:pt x="223" y="221"/>
                      <a:pt x="222" y="222"/>
                    </a:cubicBezTo>
                    <a:cubicBezTo>
                      <a:pt x="211" y="233"/>
                      <a:pt x="211" y="233"/>
                      <a:pt x="211" y="233"/>
                    </a:cubicBezTo>
                    <a:cubicBezTo>
                      <a:pt x="209" y="235"/>
                      <a:pt x="208" y="238"/>
                      <a:pt x="208" y="240"/>
                    </a:cubicBezTo>
                    <a:cubicBezTo>
                      <a:pt x="208" y="245"/>
                      <a:pt x="207" y="250"/>
                      <a:pt x="203" y="254"/>
                    </a:cubicBezTo>
                    <a:cubicBezTo>
                      <a:pt x="196" y="260"/>
                      <a:pt x="185" y="260"/>
                      <a:pt x="178" y="254"/>
                    </a:cubicBezTo>
                    <a:cubicBezTo>
                      <a:pt x="171" y="247"/>
                      <a:pt x="171" y="235"/>
                      <a:pt x="178" y="229"/>
                    </a:cubicBezTo>
                    <a:cubicBezTo>
                      <a:pt x="181" y="225"/>
                      <a:pt x="186" y="224"/>
                      <a:pt x="191" y="224"/>
                    </a:cubicBezTo>
                    <a:cubicBezTo>
                      <a:pt x="192" y="224"/>
                      <a:pt x="192" y="224"/>
                      <a:pt x="192" y="224"/>
                    </a:cubicBezTo>
                    <a:cubicBezTo>
                      <a:pt x="194" y="224"/>
                      <a:pt x="197" y="223"/>
                      <a:pt x="198" y="221"/>
                    </a:cubicBezTo>
                    <a:cubicBezTo>
                      <a:pt x="209" y="210"/>
                      <a:pt x="209" y="210"/>
                      <a:pt x="209" y="210"/>
                    </a:cubicBezTo>
                    <a:cubicBezTo>
                      <a:pt x="211" y="208"/>
                      <a:pt x="212" y="206"/>
                      <a:pt x="212" y="204"/>
                    </a:cubicBezTo>
                    <a:cubicBezTo>
                      <a:pt x="212" y="201"/>
                      <a:pt x="211" y="199"/>
                      <a:pt x="209" y="197"/>
                    </a:cubicBezTo>
                    <a:cubicBezTo>
                      <a:pt x="159" y="147"/>
                      <a:pt x="159" y="147"/>
                      <a:pt x="159" y="147"/>
                    </a:cubicBezTo>
                    <a:lnTo>
                      <a:pt x="200" y="107"/>
                    </a:lnTo>
                    <a:close/>
                    <a:moveTo>
                      <a:pt x="106" y="369"/>
                    </a:moveTo>
                    <a:cubicBezTo>
                      <a:pt x="112" y="367"/>
                      <a:pt x="118" y="364"/>
                      <a:pt x="122" y="360"/>
                    </a:cubicBezTo>
                    <a:cubicBezTo>
                      <a:pt x="129" y="353"/>
                      <a:pt x="132" y="344"/>
                      <a:pt x="132" y="335"/>
                    </a:cubicBezTo>
                    <a:cubicBezTo>
                      <a:pt x="132" y="325"/>
                      <a:pt x="129" y="316"/>
                      <a:pt x="122" y="310"/>
                    </a:cubicBezTo>
                    <a:cubicBezTo>
                      <a:pt x="108" y="296"/>
                      <a:pt x="86" y="296"/>
                      <a:pt x="72" y="310"/>
                    </a:cubicBezTo>
                    <a:cubicBezTo>
                      <a:pt x="68" y="314"/>
                      <a:pt x="65" y="320"/>
                      <a:pt x="63" y="326"/>
                    </a:cubicBezTo>
                    <a:cubicBezTo>
                      <a:pt x="22" y="285"/>
                      <a:pt x="22" y="285"/>
                      <a:pt x="22" y="285"/>
                    </a:cubicBezTo>
                    <a:cubicBezTo>
                      <a:pt x="72" y="235"/>
                      <a:pt x="72" y="235"/>
                      <a:pt x="72" y="235"/>
                    </a:cubicBezTo>
                    <a:cubicBezTo>
                      <a:pt x="76" y="231"/>
                      <a:pt x="76" y="226"/>
                      <a:pt x="72" y="222"/>
                    </a:cubicBezTo>
                    <a:cubicBezTo>
                      <a:pt x="61" y="211"/>
                      <a:pt x="61" y="211"/>
                      <a:pt x="61" y="211"/>
                    </a:cubicBezTo>
                    <a:cubicBezTo>
                      <a:pt x="59" y="209"/>
                      <a:pt x="57" y="209"/>
                      <a:pt x="54" y="209"/>
                    </a:cubicBezTo>
                    <a:cubicBezTo>
                      <a:pt x="49" y="209"/>
                      <a:pt x="44" y="207"/>
                      <a:pt x="41" y="204"/>
                    </a:cubicBezTo>
                    <a:cubicBezTo>
                      <a:pt x="38" y="200"/>
                      <a:pt x="36" y="196"/>
                      <a:pt x="36" y="191"/>
                    </a:cubicBezTo>
                    <a:cubicBezTo>
                      <a:pt x="36" y="186"/>
                      <a:pt x="38" y="182"/>
                      <a:pt x="41" y="179"/>
                    </a:cubicBezTo>
                    <a:cubicBezTo>
                      <a:pt x="48" y="172"/>
                      <a:pt x="59" y="172"/>
                      <a:pt x="66" y="179"/>
                    </a:cubicBezTo>
                    <a:cubicBezTo>
                      <a:pt x="69" y="182"/>
                      <a:pt x="71" y="187"/>
                      <a:pt x="71" y="192"/>
                    </a:cubicBezTo>
                    <a:cubicBezTo>
                      <a:pt x="71" y="195"/>
                      <a:pt x="72" y="197"/>
                      <a:pt x="73" y="199"/>
                    </a:cubicBezTo>
                    <a:cubicBezTo>
                      <a:pt x="85" y="210"/>
                      <a:pt x="85" y="210"/>
                      <a:pt x="85" y="210"/>
                    </a:cubicBezTo>
                    <a:cubicBezTo>
                      <a:pt x="86" y="212"/>
                      <a:pt x="88" y="212"/>
                      <a:pt x="91" y="212"/>
                    </a:cubicBezTo>
                    <a:cubicBezTo>
                      <a:pt x="93" y="212"/>
                      <a:pt x="95" y="212"/>
                      <a:pt x="97" y="210"/>
                    </a:cubicBezTo>
                    <a:cubicBezTo>
                      <a:pt x="147" y="160"/>
                      <a:pt x="147" y="160"/>
                      <a:pt x="147" y="160"/>
                    </a:cubicBezTo>
                    <a:cubicBezTo>
                      <a:pt x="191" y="204"/>
                      <a:pt x="191" y="204"/>
                      <a:pt x="191" y="204"/>
                    </a:cubicBezTo>
                    <a:cubicBezTo>
                      <a:pt x="188" y="206"/>
                      <a:pt x="188" y="206"/>
                      <a:pt x="188" y="206"/>
                    </a:cubicBezTo>
                    <a:cubicBezTo>
                      <a:pt x="180" y="206"/>
                      <a:pt x="172" y="210"/>
                      <a:pt x="166" y="216"/>
                    </a:cubicBezTo>
                    <a:cubicBezTo>
                      <a:pt x="152" y="230"/>
                      <a:pt x="152" y="252"/>
                      <a:pt x="166" y="266"/>
                    </a:cubicBezTo>
                    <a:cubicBezTo>
                      <a:pt x="179" y="279"/>
                      <a:pt x="202" y="279"/>
                      <a:pt x="216" y="266"/>
                    </a:cubicBezTo>
                    <a:cubicBezTo>
                      <a:pt x="222" y="260"/>
                      <a:pt x="225" y="252"/>
                      <a:pt x="226" y="243"/>
                    </a:cubicBezTo>
                    <a:cubicBezTo>
                      <a:pt x="228" y="241"/>
                      <a:pt x="228" y="241"/>
                      <a:pt x="228" y="241"/>
                    </a:cubicBezTo>
                    <a:cubicBezTo>
                      <a:pt x="272" y="285"/>
                      <a:pt x="272" y="285"/>
                      <a:pt x="272" y="285"/>
                    </a:cubicBezTo>
                    <a:cubicBezTo>
                      <a:pt x="222" y="335"/>
                      <a:pt x="222" y="335"/>
                      <a:pt x="222" y="335"/>
                    </a:cubicBezTo>
                    <a:cubicBezTo>
                      <a:pt x="220" y="336"/>
                      <a:pt x="219" y="339"/>
                      <a:pt x="219" y="341"/>
                    </a:cubicBezTo>
                    <a:cubicBezTo>
                      <a:pt x="219" y="343"/>
                      <a:pt x="220" y="346"/>
                      <a:pt x="222" y="347"/>
                    </a:cubicBezTo>
                    <a:cubicBezTo>
                      <a:pt x="233" y="358"/>
                      <a:pt x="233" y="358"/>
                      <a:pt x="233" y="358"/>
                    </a:cubicBezTo>
                    <a:cubicBezTo>
                      <a:pt x="235" y="360"/>
                      <a:pt x="237" y="361"/>
                      <a:pt x="240" y="361"/>
                    </a:cubicBezTo>
                    <a:cubicBezTo>
                      <a:pt x="245" y="361"/>
                      <a:pt x="250" y="362"/>
                      <a:pt x="253" y="366"/>
                    </a:cubicBezTo>
                    <a:cubicBezTo>
                      <a:pt x="260" y="373"/>
                      <a:pt x="260" y="384"/>
                      <a:pt x="253" y="391"/>
                    </a:cubicBezTo>
                    <a:cubicBezTo>
                      <a:pt x="246" y="398"/>
                      <a:pt x="235" y="398"/>
                      <a:pt x="228" y="391"/>
                    </a:cubicBezTo>
                    <a:cubicBezTo>
                      <a:pt x="225" y="387"/>
                      <a:pt x="223" y="383"/>
                      <a:pt x="223" y="377"/>
                    </a:cubicBezTo>
                    <a:cubicBezTo>
                      <a:pt x="223" y="375"/>
                      <a:pt x="222" y="373"/>
                      <a:pt x="220" y="371"/>
                    </a:cubicBezTo>
                    <a:cubicBezTo>
                      <a:pt x="209" y="360"/>
                      <a:pt x="209" y="360"/>
                      <a:pt x="209" y="360"/>
                    </a:cubicBezTo>
                    <a:cubicBezTo>
                      <a:pt x="206" y="356"/>
                      <a:pt x="200" y="356"/>
                      <a:pt x="197" y="360"/>
                    </a:cubicBezTo>
                    <a:cubicBezTo>
                      <a:pt x="147" y="410"/>
                      <a:pt x="147" y="410"/>
                      <a:pt x="147" y="410"/>
                    </a:cubicBezTo>
                    <a:lnTo>
                      <a:pt x="106" y="369"/>
                    </a:lnTo>
                    <a:close/>
                    <a:moveTo>
                      <a:pt x="368" y="463"/>
                    </a:moveTo>
                    <a:cubicBezTo>
                      <a:pt x="367" y="457"/>
                      <a:pt x="364" y="451"/>
                      <a:pt x="359" y="447"/>
                    </a:cubicBezTo>
                    <a:cubicBezTo>
                      <a:pt x="346" y="434"/>
                      <a:pt x="323" y="434"/>
                      <a:pt x="309" y="447"/>
                    </a:cubicBezTo>
                    <a:cubicBezTo>
                      <a:pt x="303" y="454"/>
                      <a:pt x="299" y="463"/>
                      <a:pt x="299" y="472"/>
                    </a:cubicBezTo>
                    <a:cubicBezTo>
                      <a:pt x="299" y="481"/>
                      <a:pt x="303" y="490"/>
                      <a:pt x="309" y="497"/>
                    </a:cubicBezTo>
                    <a:cubicBezTo>
                      <a:pt x="314" y="501"/>
                      <a:pt x="319" y="504"/>
                      <a:pt x="325" y="506"/>
                    </a:cubicBezTo>
                    <a:cubicBezTo>
                      <a:pt x="284" y="547"/>
                      <a:pt x="284" y="547"/>
                      <a:pt x="284" y="547"/>
                    </a:cubicBezTo>
                    <a:cubicBezTo>
                      <a:pt x="234" y="497"/>
                      <a:pt x="234" y="497"/>
                      <a:pt x="234" y="497"/>
                    </a:cubicBezTo>
                    <a:cubicBezTo>
                      <a:pt x="231" y="494"/>
                      <a:pt x="225" y="494"/>
                      <a:pt x="222" y="497"/>
                    </a:cubicBezTo>
                    <a:cubicBezTo>
                      <a:pt x="211" y="508"/>
                      <a:pt x="211" y="508"/>
                      <a:pt x="211" y="508"/>
                    </a:cubicBezTo>
                    <a:cubicBezTo>
                      <a:pt x="209" y="510"/>
                      <a:pt x="208" y="512"/>
                      <a:pt x="208" y="515"/>
                    </a:cubicBezTo>
                    <a:cubicBezTo>
                      <a:pt x="208" y="520"/>
                      <a:pt x="207" y="525"/>
                      <a:pt x="203" y="528"/>
                    </a:cubicBezTo>
                    <a:cubicBezTo>
                      <a:pt x="196" y="535"/>
                      <a:pt x="185" y="535"/>
                      <a:pt x="178" y="528"/>
                    </a:cubicBezTo>
                    <a:cubicBezTo>
                      <a:pt x="171" y="521"/>
                      <a:pt x="171" y="510"/>
                      <a:pt x="178" y="503"/>
                    </a:cubicBezTo>
                    <a:cubicBezTo>
                      <a:pt x="182" y="500"/>
                      <a:pt x="186" y="498"/>
                      <a:pt x="192" y="498"/>
                    </a:cubicBezTo>
                    <a:cubicBezTo>
                      <a:pt x="194" y="498"/>
                      <a:pt x="197" y="497"/>
                      <a:pt x="198" y="496"/>
                    </a:cubicBezTo>
                    <a:cubicBezTo>
                      <a:pt x="209" y="484"/>
                      <a:pt x="209" y="484"/>
                      <a:pt x="209" y="484"/>
                    </a:cubicBezTo>
                    <a:cubicBezTo>
                      <a:pt x="213" y="481"/>
                      <a:pt x="213" y="475"/>
                      <a:pt x="209" y="472"/>
                    </a:cubicBezTo>
                    <a:cubicBezTo>
                      <a:pt x="159" y="422"/>
                      <a:pt x="159" y="422"/>
                      <a:pt x="159" y="422"/>
                    </a:cubicBezTo>
                    <a:cubicBezTo>
                      <a:pt x="203" y="378"/>
                      <a:pt x="203" y="378"/>
                      <a:pt x="203" y="378"/>
                    </a:cubicBezTo>
                    <a:cubicBezTo>
                      <a:pt x="205" y="381"/>
                      <a:pt x="205" y="381"/>
                      <a:pt x="205" y="381"/>
                    </a:cubicBezTo>
                    <a:cubicBezTo>
                      <a:pt x="206" y="389"/>
                      <a:pt x="210" y="397"/>
                      <a:pt x="216" y="403"/>
                    </a:cubicBezTo>
                    <a:cubicBezTo>
                      <a:pt x="229" y="417"/>
                      <a:pt x="252" y="417"/>
                      <a:pt x="266" y="403"/>
                    </a:cubicBezTo>
                    <a:cubicBezTo>
                      <a:pt x="272" y="397"/>
                      <a:pt x="276" y="388"/>
                      <a:pt x="276" y="378"/>
                    </a:cubicBezTo>
                    <a:cubicBezTo>
                      <a:pt x="276" y="369"/>
                      <a:pt x="272" y="360"/>
                      <a:pt x="266" y="353"/>
                    </a:cubicBezTo>
                    <a:cubicBezTo>
                      <a:pt x="260" y="347"/>
                      <a:pt x="251" y="344"/>
                      <a:pt x="243" y="343"/>
                    </a:cubicBezTo>
                    <a:cubicBezTo>
                      <a:pt x="241" y="341"/>
                      <a:pt x="241" y="341"/>
                      <a:pt x="241" y="341"/>
                    </a:cubicBezTo>
                    <a:cubicBezTo>
                      <a:pt x="284" y="297"/>
                      <a:pt x="284" y="297"/>
                      <a:pt x="284" y="297"/>
                    </a:cubicBezTo>
                    <a:cubicBezTo>
                      <a:pt x="334" y="347"/>
                      <a:pt x="334" y="347"/>
                      <a:pt x="334" y="347"/>
                    </a:cubicBezTo>
                    <a:cubicBezTo>
                      <a:pt x="338" y="351"/>
                      <a:pt x="343" y="351"/>
                      <a:pt x="347" y="347"/>
                    </a:cubicBezTo>
                    <a:cubicBezTo>
                      <a:pt x="358" y="336"/>
                      <a:pt x="358" y="336"/>
                      <a:pt x="358" y="336"/>
                    </a:cubicBezTo>
                    <a:cubicBezTo>
                      <a:pt x="360" y="334"/>
                      <a:pt x="361" y="332"/>
                      <a:pt x="360" y="329"/>
                    </a:cubicBezTo>
                    <a:cubicBezTo>
                      <a:pt x="360" y="324"/>
                      <a:pt x="362" y="320"/>
                      <a:pt x="365" y="316"/>
                    </a:cubicBezTo>
                    <a:cubicBezTo>
                      <a:pt x="372" y="309"/>
                      <a:pt x="383" y="309"/>
                      <a:pt x="390" y="316"/>
                    </a:cubicBezTo>
                    <a:cubicBezTo>
                      <a:pt x="397" y="323"/>
                      <a:pt x="397" y="334"/>
                      <a:pt x="390" y="341"/>
                    </a:cubicBezTo>
                    <a:cubicBezTo>
                      <a:pt x="387" y="344"/>
                      <a:pt x="382" y="346"/>
                      <a:pt x="377" y="346"/>
                    </a:cubicBezTo>
                    <a:cubicBezTo>
                      <a:pt x="375" y="346"/>
                      <a:pt x="372" y="347"/>
                      <a:pt x="370" y="349"/>
                    </a:cubicBezTo>
                    <a:cubicBezTo>
                      <a:pt x="359" y="360"/>
                      <a:pt x="359" y="360"/>
                      <a:pt x="359" y="360"/>
                    </a:cubicBezTo>
                    <a:cubicBezTo>
                      <a:pt x="357" y="361"/>
                      <a:pt x="357" y="364"/>
                      <a:pt x="357" y="366"/>
                    </a:cubicBezTo>
                    <a:cubicBezTo>
                      <a:pt x="357" y="368"/>
                      <a:pt x="357" y="371"/>
                      <a:pt x="359" y="372"/>
                    </a:cubicBezTo>
                    <a:cubicBezTo>
                      <a:pt x="409" y="422"/>
                      <a:pt x="409" y="422"/>
                      <a:pt x="409" y="422"/>
                    </a:cubicBezTo>
                    <a:lnTo>
                      <a:pt x="368" y="463"/>
                    </a:lnTo>
                    <a:close/>
                    <a:moveTo>
                      <a:pt x="496" y="335"/>
                    </a:moveTo>
                    <a:cubicBezTo>
                      <a:pt x="493" y="338"/>
                      <a:pt x="493" y="344"/>
                      <a:pt x="496" y="347"/>
                    </a:cubicBezTo>
                    <a:cubicBezTo>
                      <a:pt x="508" y="358"/>
                      <a:pt x="508" y="358"/>
                      <a:pt x="508" y="358"/>
                    </a:cubicBezTo>
                    <a:cubicBezTo>
                      <a:pt x="509" y="360"/>
                      <a:pt x="512" y="361"/>
                      <a:pt x="514" y="361"/>
                    </a:cubicBezTo>
                    <a:cubicBezTo>
                      <a:pt x="519" y="361"/>
                      <a:pt x="524" y="362"/>
                      <a:pt x="528" y="366"/>
                    </a:cubicBezTo>
                    <a:cubicBezTo>
                      <a:pt x="531" y="369"/>
                      <a:pt x="533" y="374"/>
                      <a:pt x="533" y="378"/>
                    </a:cubicBezTo>
                    <a:cubicBezTo>
                      <a:pt x="533" y="383"/>
                      <a:pt x="531" y="388"/>
                      <a:pt x="528" y="391"/>
                    </a:cubicBezTo>
                    <a:cubicBezTo>
                      <a:pt x="521" y="398"/>
                      <a:pt x="510" y="398"/>
                      <a:pt x="503" y="391"/>
                    </a:cubicBezTo>
                    <a:cubicBezTo>
                      <a:pt x="499" y="387"/>
                      <a:pt x="497" y="383"/>
                      <a:pt x="498" y="377"/>
                    </a:cubicBezTo>
                    <a:cubicBezTo>
                      <a:pt x="498" y="375"/>
                      <a:pt x="497" y="373"/>
                      <a:pt x="495" y="371"/>
                    </a:cubicBezTo>
                    <a:cubicBezTo>
                      <a:pt x="484" y="360"/>
                      <a:pt x="484" y="360"/>
                      <a:pt x="484" y="360"/>
                    </a:cubicBezTo>
                    <a:cubicBezTo>
                      <a:pt x="482" y="358"/>
                      <a:pt x="480" y="357"/>
                      <a:pt x="478" y="357"/>
                    </a:cubicBezTo>
                    <a:cubicBezTo>
                      <a:pt x="475" y="357"/>
                      <a:pt x="473" y="358"/>
                      <a:pt x="471" y="360"/>
                    </a:cubicBezTo>
                    <a:cubicBezTo>
                      <a:pt x="422" y="410"/>
                      <a:pt x="422" y="410"/>
                      <a:pt x="422" y="410"/>
                    </a:cubicBezTo>
                    <a:cubicBezTo>
                      <a:pt x="378" y="366"/>
                      <a:pt x="378" y="366"/>
                      <a:pt x="378" y="366"/>
                    </a:cubicBezTo>
                    <a:cubicBezTo>
                      <a:pt x="380" y="364"/>
                      <a:pt x="380" y="364"/>
                      <a:pt x="380" y="364"/>
                    </a:cubicBezTo>
                    <a:cubicBezTo>
                      <a:pt x="389" y="363"/>
                      <a:pt x="397" y="359"/>
                      <a:pt x="403" y="353"/>
                    </a:cubicBezTo>
                    <a:cubicBezTo>
                      <a:pt x="417" y="340"/>
                      <a:pt x="417" y="317"/>
                      <a:pt x="403" y="303"/>
                    </a:cubicBezTo>
                    <a:cubicBezTo>
                      <a:pt x="389" y="290"/>
                      <a:pt x="367" y="290"/>
                      <a:pt x="353" y="303"/>
                    </a:cubicBezTo>
                    <a:cubicBezTo>
                      <a:pt x="347" y="310"/>
                      <a:pt x="343" y="318"/>
                      <a:pt x="343" y="326"/>
                    </a:cubicBezTo>
                    <a:cubicBezTo>
                      <a:pt x="340" y="328"/>
                      <a:pt x="340" y="328"/>
                      <a:pt x="340" y="328"/>
                    </a:cubicBezTo>
                    <a:cubicBezTo>
                      <a:pt x="297" y="285"/>
                      <a:pt x="297" y="285"/>
                      <a:pt x="297" y="285"/>
                    </a:cubicBezTo>
                    <a:cubicBezTo>
                      <a:pt x="347" y="235"/>
                      <a:pt x="347" y="235"/>
                      <a:pt x="347" y="235"/>
                    </a:cubicBezTo>
                    <a:cubicBezTo>
                      <a:pt x="350" y="231"/>
                      <a:pt x="350" y="226"/>
                      <a:pt x="347" y="222"/>
                    </a:cubicBezTo>
                    <a:cubicBezTo>
                      <a:pt x="342" y="217"/>
                      <a:pt x="342" y="217"/>
                      <a:pt x="342" y="217"/>
                    </a:cubicBezTo>
                    <a:cubicBezTo>
                      <a:pt x="340" y="216"/>
                      <a:pt x="338" y="215"/>
                      <a:pt x="335" y="215"/>
                    </a:cubicBezTo>
                    <a:cubicBezTo>
                      <a:pt x="334" y="215"/>
                      <a:pt x="334" y="215"/>
                      <a:pt x="334" y="215"/>
                    </a:cubicBezTo>
                    <a:cubicBezTo>
                      <a:pt x="329" y="215"/>
                      <a:pt x="325" y="213"/>
                      <a:pt x="322" y="210"/>
                    </a:cubicBezTo>
                    <a:cubicBezTo>
                      <a:pt x="315" y="203"/>
                      <a:pt x="315" y="192"/>
                      <a:pt x="322" y="185"/>
                    </a:cubicBezTo>
                    <a:cubicBezTo>
                      <a:pt x="328" y="178"/>
                      <a:pt x="340" y="178"/>
                      <a:pt x="347" y="185"/>
                    </a:cubicBezTo>
                    <a:cubicBezTo>
                      <a:pt x="350" y="188"/>
                      <a:pt x="352" y="193"/>
                      <a:pt x="352" y="198"/>
                    </a:cubicBezTo>
                    <a:cubicBezTo>
                      <a:pt x="352" y="201"/>
                      <a:pt x="352" y="203"/>
                      <a:pt x="354" y="205"/>
                    </a:cubicBezTo>
                    <a:cubicBezTo>
                      <a:pt x="359" y="210"/>
                      <a:pt x="359" y="210"/>
                      <a:pt x="359" y="210"/>
                    </a:cubicBezTo>
                    <a:cubicBezTo>
                      <a:pt x="363" y="213"/>
                      <a:pt x="368" y="213"/>
                      <a:pt x="372" y="210"/>
                    </a:cubicBezTo>
                    <a:cubicBezTo>
                      <a:pt x="422" y="160"/>
                      <a:pt x="422" y="160"/>
                      <a:pt x="422" y="160"/>
                    </a:cubicBezTo>
                    <a:cubicBezTo>
                      <a:pt x="462" y="201"/>
                      <a:pt x="462" y="201"/>
                      <a:pt x="462" y="201"/>
                    </a:cubicBezTo>
                    <a:cubicBezTo>
                      <a:pt x="456" y="202"/>
                      <a:pt x="451" y="205"/>
                      <a:pt x="447" y="210"/>
                    </a:cubicBezTo>
                    <a:cubicBezTo>
                      <a:pt x="440" y="217"/>
                      <a:pt x="436" y="225"/>
                      <a:pt x="436" y="235"/>
                    </a:cubicBezTo>
                    <a:cubicBezTo>
                      <a:pt x="436" y="244"/>
                      <a:pt x="440" y="253"/>
                      <a:pt x="447" y="260"/>
                    </a:cubicBezTo>
                    <a:cubicBezTo>
                      <a:pt x="460" y="273"/>
                      <a:pt x="483" y="273"/>
                      <a:pt x="496" y="260"/>
                    </a:cubicBezTo>
                    <a:cubicBezTo>
                      <a:pt x="501" y="255"/>
                      <a:pt x="504" y="250"/>
                      <a:pt x="506" y="244"/>
                    </a:cubicBezTo>
                    <a:cubicBezTo>
                      <a:pt x="546" y="285"/>
                      <a:pt x="546" y="285"/>
                      <a:pt x="546" y="285"/>
                    </a:cubicBezTo>
                    <a:lnTo>
                      <a:pt x="496" y="335"/>
                    </a:lnTo>
                    <a:close/>
                  </a:path>
                </a:pathLst>
              </a:custGeom>
              <a:grpFill/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33">
                <a:extLst>
                  <a:ext uri="{FF2B5EF4-FFF2-40B4-BE49-F238E27FC236}">
                    <a16:creationId xmlns:a16="http://schemas.microsoft.com/office/drawing/2014/main" id="{8B87AC48-5FAF-404D-ACD9-DA8A056AB9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45" y="1564"/>
                <a:ext cx="1186" cy="1186"/>
              </a:xfrm>
              <a:custGeom>
                <a:avLst/>
                <a:gdLst>
                  <a:gd name="T0" fmla="*/ 489 w 569"/>
                  <a:gd name="T1" fmla="*/ 234 h 568"/>
                  <a:gd name="T2" fmla="*/ 472 w 569"/>
                  <a:gd name="T3" fmla="*/ 217 h 568"/>
                  <a:gd name="T4" fmla="*/ 378 w 569"/>
                  <a:gd name="T5" fmla="*/ 91 h 568"/>
                  <a:gd name="T6" fmla="*/ 353 w 569"/>
                  <a:gd name="T7" fmla="*/ 29 h 568"/>
                  <a:gd name="T8" fmla="*/ 222 w 569"/>
                  <a:gd name="T9" fmla="*/ 60 h 568"/>
                  <a:gd name="T10" fmla="*/ 234 w 569"/>
                  <a:gd name="T11" fmla="*/ 80 h 568"/>
                  <a:gd name="T12" fmla="*/ 217 w 569"/>
                  <a:gd name="T13" fmla="*/ 97 h 568"/>
                  <a:gd name="T14" fmla="*/ 91 w 569"/>
                  <a:gd name="T15" fmla="*/ 191 h 568"/>
                  <a:gd name="T16" fmla="*/ 28 w 569"/>
                  <a:gd name="T17" fmla="*/ 216 h 568"/>
                  <a:gd name="T18" fmla="*/ 60 w 569"/>
                  <a:gd name="T19" fmla="*/ 347 h 568"/>
                  <a:gd name="T20" fmla="*/ 109 w 569"/>
                  <a:gd name="T21" fmla="*/ 322 h 568"/>
                  <a:gd name="T22" fmla="*/ 85 w 569"/>
                  <a:gd name="T23" fmla="*/ 360 h 568"/>
                  <a:gd name="T24" fmla="*/ 188 w 569"/>
                  <a:gd name="T25" fmla="*/ 481 h 568"/>
                  <a:gd name="T26" fmla="*/ 226 w 569"/>
                  <a:gd name="T27" fmla="*/ 518 h 568"/>
                  <a:gd name="T28" fmla="*/ 347 w 569"/>
                  <a:gd name="T29" fmla="*/ 509 h 568"/>
                  <a:gd name="T30" fmla="*/ 317 w 569"/>
                  <a:gd name="T31" fmla="*/ 472 h 568"/>
                  <a:gd name="T32" fmla="*/ 359 w 569"/>
                  <a:gd name="T33" fmla="*/ 484 h 568"/>
                  <a:gd name="T34" fmla="*/ 480 w 569"/>
                  <a:gd name="T35" fmla="*/ 381 h 568"/>
                  <a:gd name="T36" fmla="*/ 517 w 569"/>
                  <a:gd name="T37" fmla="*/ 343 h 568"/>
                  <a:gd name="T38" fmla="*/ 200 w 569"/>
                  <a:gd name="T39" fmla="*/ 107 h 568"/>
                  <a:gd name="T40" fmla="*/ 243 w 569"/>
                  <a:gd name="T41" fmla="*/ 63 h 568"/>
                  <a:gd name="T42" fmla="*/ 360 w 569"/>
                  <a:gd name="T43" fmla="*/ 55 h 568"/>
                  <a:gd name="T44" fmla="*/ 377 w 569"/>
                  <a:gd name="T45" fmla="*/ 71 h 568"/>
                  <a:gd name="T46" fmla="*/ 368 w 569"/>
                  <a:gd name="T47" fmla="*/ 188 h 568"/>
                  <a:gd name="T48" fmla="*/ 284 w 569"/>
                  <a:gd name="T49" fmla="*/ 272 h 568"/>
                  <a:gd name="T50" fmla="*/ 208 w 569"/>
                  <a:gd name="T51" fmla="*/ 240 h 568"/>
                  <a:gd name="T52" fmla="*/ 192 w 569"/>
                  <a:gd name="T53" fmla="*/ 224 h 568"/>
                  <a:gd name="T54" fmla="*/ 159 w 569"/>
                  <a:gd name="T55" fmla="*/ 147 h 568"/>
                  <a:gd name="T56" fmla="*/ 122 w 569"/>
                  <a:gd name="T57" fmla="*/ 310 h 568"/>
                  <a:gd name="T58" fmla="*/ 72 w 569"/>
                  <a:gd name="T59" fmla="*/ 222 h 568"/>
                  <a:gd name="T60" fmla="*/ 41 w 569"/>
                  <a:gd name="T61" fmla="*/ 179 h 568"/>
                  <a:gd name="T62" fmla="*/ 91 w 569"/>
                  <a:gd name="T63" fmla="*/ 212 h 568"/>
                  <a:gd name="T64" fmla="*/ 166 w 569"/>
                  <a:gd name="T65" fmla="*/ 216 h 568"/>
                  <a:gd name="T66" fmla="*/ 272 w 569"/>
                  <a:gd name="T67" fmla="*/ 285 h 568"/>
                  <a:gd name="T68" fmla="*/ 240 w 569"/>
                  <a:gd name="T69" fmla="*/ 361 h 568"/>
                  <a:gd name="T70" fmla="*/ 220 w 569"/>
                  <a:gd name="T71" fmla="*/ 371 h 568"/>
                  <a:gd name="T72" fmla="*/ 368 w 569"/>
                  <a:gd name="T73" fmla="*/ 463 h 568"/>
                  <a:gd name="T74" fmla="*/ 325 w 569"/>
                  <a:gd name="T75" fmla="*/ 506 h 568"/>
                  <a:gd name="T76" fmla="*/ 208 w 569"/>
                  <a:gd name="T77" fmla="*/ 515 h 568"/>
                  <a:gd name="T78" fmla="*/ 198 w 569"/>
                  <a:gd name="T79" fmla="*/ 496 h 568"/>
                  <a:gd name="T80" fmla="*/ 205 w 569"/>
                  <a:gd name="T81" fmla="*/ 381 h 568"/>
                  <a:gd name="T82" fmla="*/ 243 w 569"/>
                  <a:gd name="T83" fmla="*/ 343 h 568"/>
                  <a:gd name="T84" fmla="*/ 358 w 569"/>
                  <a:gd name="T85" fmla="*/ 336 h 568"/>
                  <a:gd name="T86" fmla="*/ 377 w 569"/>
                  <a:gd name="T87" fmla="*/ 346 h 568"/>
                  <a:gd name="T88" fmla="*/ 409 w 569"/>
                  <a:gd name="T89" fmla="*/ 422 h 568"/>
                  <a:gd name="T90" fmla="*/ 514 w 569"/>
                  <a:gd name="T91" fmla="*/ 361 h 568"/>
                  <a:gd name="T92" fmla="*/ 498 w 569"/>
                  <a:gd name="T93" fmla="*/ 377 h 568"/>
                  <a:gd name="T94" fmla="*/ 422 w 569"/>
                  <a:gd name="T95" fmla="*/ 410 h 568"/>
                  <a:gd name="T96" fmla="*/ 353 w 569"/>
                  <a:gd name="T97" fmla="*/ 303 h 568"/>
                  <a:gd name="T98" fmla="*/ 347 w 569"/>
                  <a:gd name="T99" fmla="*/ 222 h 568"/>
                  <a:gd name="T100" fmla="*/ 322 w 569"/>
                  <a:gd name="T101" fmla="*/ 185 h 568"/>
                  <a:gd name="T102" fmla="*/ 372 w 569"/>
                  <a:gd name="T103" fmla="*/ 210 h 568"/>
                  <a:gd name="T104" fmla="*/ 447 w 569"/>
                  <a:gd name="T105" fmla="*/ 260 h 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69" h="568">
                    <a:moveTo>
                      <a:pt x="509" y="222"/>
                    </a:moveTo>
                    <a:cubicBezTo>
                      <a:pt x="507" y="221"/>
                      <a:pt x="505" y="220"/>
                      <a:pt x="503" y="220"/>
                    </a:cubicBezTo>
                    <a:cubicBezTo>
                      <a:pt x="500" y="220"/>
                      <a:pt x="498" y="221"/>
                      <a:pt x="496" y="222"/>
                    </a:cubicBezTo>
                    <a:cubicBezTo>
                      <a:pt x="492" y="227"/>
                      <a:pt x="492" y="227"/>
                      <a:pt x="492" y="227"/>
                    </a:cubicBezTo>
                    <a:cubicBezTo>
                      <a:pt x="490" y="229"/>
                      <a:pt x="489" y="231"/>
                      <a:pt x="489" y="234"/>
                    </a:cubicBezTo>
                    <a:cubicBezTo>
                      <a:pt x="489" y="239"/>
                      <a:pt x="487" y="244"/>
                      <a:pt x="484" y="247"/>
                    </a:cubicBezTo>
                    <a:cubicBezTo>
                      <a:pt x="477" y="254"/>
                      <a:pt x="466" y="254"/>
                      <a:pt x="459" y="247"/>
                    </a:cubicBezTo>
                    <a:cubicBezTo>
                      <a:pt x="456" y="244"/>
                      <a:pt x="454" y="240"/>
                      <a:pt x="454" y="235"/>
                    </a:cubicBezTo>
                    <a:cubicBezTo>
                      <a:pt x="454" y="230"/>
                      <a:pt x="456" y="226"/>
                      <a:pt x="459" y="222"/>
                    </a:cubicBezTo>
                    <a:cubicBezTo>
                      <a:pt x="463" y="219"/>
                      <a:pt x="467" y="217"/>
                      <a:pt x="472" y="217"/>
                    </a:cubicBezTo>
                    <a:cubicBezTo>
                      <a:pt x="475" y="217"/>
                      <a:pt x="477" y="217"/>
                      <a:pt x="479" y="215"/>
                    </a:cubicBezTo>
                    <a:cubicBezTo>
                      <a:pt x="484" y="210"/>
                      <a:pt x="484" y="210"/>
                      <a:pt x="484" y="210"/>
                    </a:cubicBezTo>
                    <a:cubicBezTo>
                      <a:pt x="487" y="206"/>
                      <a:pt x="487" y="201"/>
                      <a:pt x="484" y="197"/>
                    </a:cubicBezTo>
                    <a:cubicBezTo>
                      <a:pt x="428" y="141"/>
                      <a:pt x="428" y="141"/>
                      <a:pt x="428" y="141"/>
                    </a:cubicBezTo>
                    <a:cubicBezTo>
                      <a:pt x="378" y="91"/>
                      <a:pt x="378" y="91"/>
                      <a:pt x="378" y="91"/>
                    </a:cubicBezTo>
                    <a:cubicBezTo>
                      <a:pt x="380" y="89"/>
                      <a:pt x="380" y="89"/>
                      <a:pt x="380" y="89"/>
                    </a:cubicBezTo>
                    <a:cubicBezTo>
                      <a:pt x="389" y="88"/>
                      <a:pt x="397" y="85"/>
                      <a:pt x="403" y="79"/>
                    </a:cubicBezTo>
                    <a:cubicBezTo>
                      <a:pt x="410" y="72"/>
                      <a:pt x="413" y="63"/>
                      <a:pt x="413" y="54"/>
                    </a:cubicBezTo>
                    <a:cubicBezTo>
                      <a:pt x="413" y="44"/>
                      <a:pt x="410" y="36"/>
                      <a:pt x="403" y="29"/>
                    </a:cubicBezTo>
                    <a:cubicBezTo>
                      <a:pt x="390" y="16"/>
                      <a:pt x="366" y="16"/>
                      <a:pt x="353" y="29"/>
                    </a:cubicBezTo>
                    <a:cubicBezTo>
                      <a:pt x="347" y="35"/>
                      <a:pt x="343" y="43"/>
                      <a:pt x="343" y="52"/>
                    </a:cubicBezTo>
                    <a:cubicBezTo>
                      <a:pt x="340" y="54"/>
                      <a:pt x="340" y="54"/>
                      <a:pt x="340" y="54"/>
                    </a:cubicBezTo>
                    <a:cubicBezTo>
                      <a:pt x="291" y="4"/>
                      <a:pt x="291" y="4"/>
                      <a:pt x="291" y="4"/>
                    </a:cubicBezTo>
                    <a:cubicBezTo>
                      <a:pt x="287" y="0"/>
                      <a:pt x="281" y="0"/>
                      <a:pt x="278" y="4"/>
                    </a:cubicBezTo>
                    <a:cubicBezTo>
                      <a:pt x="222" y="60"/>
                      <a:pt x="222" y="60"/>
                      <a:pt x="222" y="60"/>
                    </a:cubicBezTo>
                    <a:cubicBezTo>
                      <a:pt x="220" y="62"/>
                      <a:pt x="219" y="64"/>
                      <a:pt x="219" y="66"/>
                    </a:cubicBezTo>
                    <a:cubicBezTo>
                      <a:pt x="219" y="69"/>
                      <a:pt x="220" y="71"/>
                      <a:pt x="222" y="73"/>
                    </a:cubicBezTo>
                    <a:cubicBezTo>
                      <a:pt x="227" y="77"/>
                      <a:pt x="227" y="77"/>
                      <a:pt x="227" y="77"/>
                    </a:cubicBezTo>
                    <a:cubicBezTo>
                      <a:pt x="228" y="79"/>
                      <a:pt x="231" y="80"/>
                      <a:pt x="233" y="80"/>
                    </a:cubicBezTo>
                    <a:cubicBezTo>
                      <a:pt x="234" y="80"/>
                      <a:pt x="234" y="80"/>
                      <a:pt x="234" y="80"/>
                    </a:cubicBezTo>
                    <a:cubicBezTo>
                      <a:pt x="239" y="80"/>
                      <a:pt x="244" y="82"/>
                      <a:pt x="247" y="85"/>
                    </a:cubicBezTo>
                    <a:cubicBezTo>
                      <a:pt x="250" y="88"/>
                      <a:pt x="252" y="93"/>
                      <a:pt x="252" y="98"/>
                    </a:cubicBezTo>
                    <a:cubicBezTo>
                      <a:pt x="252" y="102"/>
                      <a:pt x="250" y="107"/>
                      <a:pt x="247" y="110"/>
                    </a:cubicBezTo>
                    <a:cubicBezTo>
                      <a:pt x="240" y="117"/>
                      <a:pt x="229" y="117"/>
                      <a:pt x="222" y="110"/>
                    </a:cubicBezTo>
                    <a:cubicBezTo>
                      <a:pt x="218" y="106"/>
                      <a:pt x="217" y="102"/>
                      <a:pt x="217" y="97"/>
                    </a:cubicBezTo>
                    <a:cubicBezTo>
                      <a:pt x="217" y="94"/>
                      <a:pt x="216" y="92"/>
                      <a:pt x="214" y="90"/>
                    </a:cubicBezTo>
                    <a:cubicBezTo>
                      <a:pt x="209" y="85"/>
                      <a:pt x="209" y="85"/>
                      <a:pt x="209" y="85"/>
                    </a:cubicBezTo>
                    <a:cubicBezTo>
                      <a:pt x="206" y="82"/>
                      <a:pt x="200" y="82"/>
                      <a:pt x="197" y="85"/>
                    </a:cubicBezTo>
                    <a:cubicBezTo>
                      <a:pt x="141" y="141"/>
                      <a:pt x="141" y="141"/>
                      <a:pt x="141" y="141"/>
                    </a:cubicBezTo>
                    <a:cubicBezTo>
                      <a:pt x="91" y="191"/>
                      <a:pt x="91" y="191"/>
                      <a:pt x="91" y="191"/>
                    </a:cubicBezTo>
                    <a:cubicBezTo>
                      <a:pt x="88" y="189"/>
                      <a:pt x="88" y="189"/>
                      <a:pt x="88" y="189"/>
                    </a:cubicBezTo>
                    <a:cubicBezTo>
                      <a:pt x="88" y="180"/>
                      <a:pt x="84" y="172"/>
                      <a:pt x="78" y="166"/>
                    </a:cubicBezTo>
                    <a:cubicBezTo>
                      <a:pt x="65" y="153"/>
                      <a:pt x="42" y="153"/>
                      <a:pt x="28" y="166"/>
                    </a:cubicBezTo>
                    <a:cubicBezTo>
                      <a:pt x="22" y="173"/>
                      <a:pt x="18" y="182"/>
                      <a:pt x="18" y="191"/>
                    </a:cubicBezTo>
                    <a:cubicBezTo>
                      <a:pt x="18" y="201"/>
                      <a:pt x="22" y="209"/>
                      <a:pt x="28" y="216"/>
                    </a:cubicBezTo>
                    <a:cubicBezTo>
                      <a:pt x="34" y="222"/>
                      <a:pt x="42" y="226"/>
                      <a:pt x="51" y="226"/>
                    </a:cubicBezTo>
                    <a:cubicBezTo>
                      <a:pt x="53" y="229"/>
                      <a:pt x="53" y="229"/>
                      <a:pt x="53" y="229"/>
                    </a:cubicBezTo>
                    <a:cubicBezTo>
                      <a:pt x="3" y="278"/>
                      <a:pt x="3" y="278"/>
                      <a:pt x="3" y="278"/>
                    </a:cubicBezTo>
                    <a:cubicBezTo>
                      <a:pt x="0" y="282"/>
                      <a:pt x="0" y="288"/>
                      <a:pt x="3" y="291"/>
                    </a:cubicBezTo>
                    <a:cubicBezTo>
                      <a:pt x="60" y="347"/>
                      <a:pt x="60" y="347"/>
                      <a:pt x="60" y="347"/>
                    </a:cubicBezTo>
                    <a:cubicBezTo>
                      <a:pt x="63" y="351"/>
                      <a:pt x="69" y="351"/>
                      <a:pt x="72" y="347"/>
                    </a:cubicBezTo>
                    <a:cubicBezTo>
                      <a:pt x="77" y="342"/>
                      <a:pt x="77" y="342"/>
                      <a:pt x="77" y="342"/>
                    </a:cubicBezTo>
                    <a:cubicBezTo>
                      <a:pt x="79" y="341"/>
                      <a:pt x="80" y="338"/>
                      <a:pt x="80" y="336"/>
                    </a:cubicBezTo>
                    <a:cubicBezTo>
                      <a:pt x="79" y="330"/>
                      <a:pt x="81" y="326"/>
                      <a:pt x="85" y="322"/>
                    </a:cubicBezTo>
                    <a:cubicBezTo>
                      <a:pt x="91" y="316"/>
                      <a:pt x="103" y="316"/>
                      <a:pt x="109" y="322"/>
                    </a:cubicBezTo>
                    <a:cubicBezTo>
                      <a:pt x="113" y="326"/>
                      <a:pt x="115" y="330"/>
                      <a:pt x="115" y="335"/>
                    </a:cubicBezTo>
                    <a:cubicBezTo>
                      <a:pt x="115" y="339"/>
                      <a:pt x="113" y="344"/>
                      <a:pt x="109" y="347"/>
                    </a:cubicBezTo>
                    <a:cubicBezTo>
                      <a:pt x="106" y="351"/>
                      <a:pt x="101" y="352"/>
                      <a:pt x="96" y="352"/>
                    </a:cubicBezTo>
                    <a:cubicBezTo>
                      <a:pt x="94" y="352"/>
                      <a:pt x="91" y="353"/>
                      <a:pt x="89" y="355"/>
                    </a:cubicBezTo>
                    <a:cubicBezTo>
                      <a:pt x="85" y="360"/>
                      <a:pt x="85" y="360"/>
                      <a:pt x="85" y="360"/>
                    </a:cubicBezTo>
                    <a:cubicBezTo>
                      <a:pt x="81" y="363"/>
                      <a:pt x="81" y="369"/>
                      <a:pt x="85" y="372"/>
                    </a:cubicBezTo>
                    <a:cubicBezTo>
                      <a:pt x="141" y="428"/>
                      <a:pt x="141" y="428"/>
                      <a:pt x="141" y="428"/>
                    </a:cubicBezTo>
                    <a:cubicBezTo>
                      <a:pt x="141" y="428"/>
                      <a:pt x="141" y="428"/>
                      <a:pt x="141" y="428"/>
                    </a:cubicBezTo>
                    <a:cubicBezTo>
                      <a:pt x="191" y="478"/>
                      <a:pt x="191" y="478"/>
                      <a:pt x="191" y="478"/>
                    </a:cubicBezTo>
                    <a:cubicBezTo>
                      <a:pt x="188" y="481"/>
                      <a:pt x="188" y="481"/>
                      <a:pt x="188" y="481"/>
                    </a:cubicBezTo>
                    <a:cubicBezTo>
                      <a:pt x="180" y="481"/>
                      <a:pt x="172" y="485"/>
                      <a:pt x="166" y="491"/>
                    </a:cubicBezTo>
                    <a:cubicBezTo>
                      <a:pt x="152" y="504"/>
                      <a:pt x="152" y="527"/>
                      <a:pt x="166" y="541"/>
                    </a:cubicBezTo>
                    <a:cubicBezTo>
                      <a:pt x="172" y="547"/>
                      <a:pt x="181" y="551"/>
                      <a:pt x="191" y="551"/>
                    </a:cubicBezTo>
                    <a:cubicBezTo>
                      <a:pt x="200" y="551"/>
                      <a:pt x="209" y="547"/>
                      <a:pt x="216" y="541"/>
                    </a:cubicBezTo>
                    <a:cubicBezTo>
                      <a:pt x="222" y="535"/>
                      <a:pt x="225" y="527"/>
                      <a:pt x="226" y="518"/>
                    </a:cubicBezTo>
                    <a:cubicBezTo>
                      <a:pt x="228" y="516"/>
                      <a:pt x="228" y="516"/>
                      <a:pt x="228" y="516"/>
                    </a:cubicBezTo>
                    <a:cubicBezTo>
                      <a:pt x="278" y="566"/>
                      <a:pt x="278" y="566"/>
                      <a:pt x="278" y="566"/>
                    </a:cubicBezTo>
                    <a:cubicBezTo>
                      <a:pt x="280" y="567"/>
                      <a:pt x="282" y="568"/>
                      <a:pt x="284" y="568"/>
                    </a:cubicBezTo>
                    <a:cubicBezTo>
                      <a:pt x="287" y="568"/>
                      <a:pt x="289" y="567"/>
                      <a:pt x="291" y="566"/>
                    </a:cubicBezTo>
                    <a:cubicBezTo>
                      <a:pt x="347" y="509"/>
                      <a:pt x="347" y="509"/>
                      <a:pt x="347" y="509"/>
                    </a:cubicBezTo>
                    <a:cubicBezTo>
                      <a:pt x="350" y="506"/>
                      <a:pt x="350" y="500"/>
                      <a:pt x="347" y="497"/>
                    </a:cubicBezTo>
                    <a:cubicBezTo>
                      <a:pt x="342" y="492"/>
                      <a:pt x="342" y="492"/>
                      <a:pt x="342" y="492"/>
                    </a:cubicBezTo>
                    <a:cubicBezTo>
                      <a:pt x="340" y="490"/>
                      <a:pt x="338" y="489"/>
                      <a:pt x="335" y="489"/>
                    </a:cubicBezTo>
                    <a:cubicBezTo>
                      <a:pt x="330" y="490"/>
                      <a:pt x="325" y="488"/>
                      <a:pt x="322" y="484"/>
                    </a:cubicBezTo>
                    <a:cubicBezTo>
                      <a:pt x="318" y="481"/>
                      <a:pt x="317" y="477"/>
                      <a:pt x="317" y="472"/>
                    </a:cubicBezTo>
                    <a:cubicBezTo>
                      <a:pt x="317" y="467"/>
                      <a:pt x="318" y="463"/>
                      <a:pt x="322" y="460"/>
                    </a:cubicBezTo>
                    <a:cubicBezTo>
                      <a:pt x="328" y="453"/>
                      <a:pt x="340" y="453"/>
                      <a:pt x="347" y="460"/>
                    </a:cubicBezTo>
                    <a:cubicBezTo>
                      <a:pt x="350" y="463"/>
                      <a:pt x="352" y="468"/>
                      <a:pt x="352" y="473"/>
                    </a:cubicBezTo>
                    <a:cubicBezTo>
                      <a:pt x="352" y="475"/>
                      <a:pt x="352" y="478"/>
                      <a:pt x="354" y="480"/>
                    </a:cubicBezTo>
                    <a:cubicBezTo>
                      <a:pt x="359" y="484"/>
                      <a:pt x="359" y="484"/>
                      <a:pt x="359" y="484"/>
                    </a:cubicBezTo>
                    <a:cubicBezTo>
                      <a:pt x="363" y="488"/>
                      <a:pt x="368" y="488"/>
                      <a:pt x="372" y="484"/>
                    </a:cubicBezTo>
                    <a:cubicBezTo>
                      <a:pt x="428" y="428"/>
                      <a:pt x="428" y="428"/>
                      <a:pt x="428" y="428"/>
                    </a:cubicBezTo>
                    <a:cubicBezTo>
                      <a:pt x="428" y="428"/>
                      <a:pt x="428" y="428"/>
                      <a:pt x="428" y="428"/>
                    </a:cubicBezTo>
                    <a:cubicBezTo>
                      <a:pt x="478" y="378"/>
                      <a:pt x="478" y="378"/>
                      <a:pt x="478" y="378"/>
                    </a:cubicBezTo>
                    <a:cubicBezTo>
                      <a:pt x="480" y="381"/>
                      <a:pt x="480" y="381"/>
                      <a:pt x="480" y="381"/>
                    </a:cubicBezTo>
                    <a:cubicBezTo>
                      <a:pt x="481" y="389"/>
                      <a:pt x="484" y="397"/>
                      <a:pt x="490" y="403"/>
                    </a:cubicBezTo>
                    <a:cubicBezTo>
                      <a:pt x="504" y="417"/>
                      <a:pt x="526" y="417"/>
                      <a:pt x="540" y="403"/>
                    </a:cubicBezTo>
                    <a:cubicBezTo>
                      <a:pt x="547" y="397"/>
                      <a:pt x="551" y="388"/>
                      <a:pt x="551" y="378"/>
                    </a:cubicBezTo>
                    <a:cubicBezTo>
                      <a:pt x="551" y="369"/>
                      <a:pt x="547" y="360"/>
                      <a:pt x="540" y="353"/>
                    </a:cubicBezTo>
                    <a:cubicBezTo>
                      <a:pt x="534" y="347"/>
                      <a:pt x="526" y="344"/>
                      <a:pt x="517" y="343"/>
                    </a:cubicBezTo>
                    <a:cubicBezTo>
                      <a:pt x="515" y="341"/>
                      <a:pt x="515" y="341"/>
                      <a:pt x="515" y="341"/>
                    </a:cubicBezTo>
                    <a:cubicBezTo>
                      <a:pt x="565" y="291"/>
                      <a:pt x="565" y="291"/>
                      <a:pt x="565" y="291"/>
                    </a:cubicBezTo>
                    <a:cubicBezTo>
                      <a:pt x="569" y="288"/>
                      <a:pt x="569" y="282"/>
                      <a:pt x="565" y="278"/>
                    </a:cubicBezTo>
                    <a:lnTo>
                      <a:pt x="509" y="222"/>
                    </a:lnTo>
                    <a:close/>
                    <a:moveTo>
                      <a:pt x="200" y="107"/>
                    </a:moveTo>
                    <a:cubicBezTo>
                      <a:pt x="202" y="113"/>
                      <a:pt x="205" y="118"/>
                      <a:pt x="209" y="123"/>
                    </a:cubicBezTo>
                    <a:cubicBezTo>
                      <a:pt x="223" y="136"/>
                      <a:pt x="246" y="136"/>
                      <a:pt x="259" y="123"/>
                    </a:cubicBezTo>
                    <a:cubicBezTo>
                      <a:pt x="266" y="116"/>
                      <a:pt x="270" y="107"/>
                      <a:pt x="270" y="98"/>
                    </a:cubicBezTo>
                    <a:cubicBezTo>
                      <a:pt x="270" y="88"/>
                      <a:pt x="266" y="79"/>
                      <a:pt x="259" y="73"/>
                    </a:cubicBezTo>
                    <a:cubicBezTo>
                      <a:pt x="255" y="68"/>
                      <a:pt x="249" y="65"/>
                      <a:pt x="243" y="63"/>
                    </a:cubicBezTo>
                    <a:cubicBezTo>
                      <a:pt x="284" y="23"/>
                      <a:pt x="284" y="23"/>
                      <a:pt x="284" y="23"/>
                    </a:cubicBezTo>
                    <a:cubicBezTo>
                      <a:pt x="334" y="73"/>
                      <a:pt x="334" y="73"/>
                      <a:pt x="334" y="73"/>
                    </a:cubicBezTo>
                    <a:cubicBezTo>
                      <a:pt x="338" y="76"/>
                      <a:pt x="343" y="76"/>
                      <a:pt x="347" y="73"/>
                    </a:cubicBezTo>
                    <a:cubicBezTo>
                      <a:pt x="358" y="61"/>
                      <a:pt x="358" y="61"/>
                      <a:pt x="358" y="61"/>
                    </a:cubicBezTo>
                    <a:cubicBezTo>
                      <a:pt x="360" y="60"/>
                      <a:pt x="361" y="57"/>
                      <a:pt x="360" y="55"/>
                    </a:cubicBezTo>
                    <a:cubicBezTo>
                      <a:pt x="360" y="50"/>
                      <a:pt x="362" y="45"/>
                      <a:pt x="365" y="41"/>
                    </a:cubicBezTo>
                    <a:cubicBezTo>
                      <a:pt x="372" y="35"/>
                      <a:pt x="384" y="35"/>
                      <a:pt x="390" y="41"/>
                    </a:cubicBezTo>
                    <a:cubicBezTo>
                      <a:pt x="397" y="48"/>
                      <a:pt x="397" y="59"/>
                      <a:pt x="390" y="66"/>
                    </a:cubicBezTo>
                    <a:cubicBezTo>
                      <a:pt x="387" y="70"/>
                      <a:pt x="383" y="71"/>
                      <a:pt x="378" y="71"/>
                    </a:cubicBezTo>
                    <a:cubicBezTo>
                      <a:pt x="377" y="71"/>
                      <a:pt x="377" y="71"/>
                      <a:pt x="377" y="71"/>
                    </a:cubicBezTo>
                    <a:cubicBezTo>
                      <a:pt x="374" y="71"/>
                      <a:pt x="372" y="72"/>
                      <a:pt x="370" y="74"/>
                    </a:cubicBezTo>
                    <a:cubicBezTo>
                      <a:pt x="359" y="85"/>
                      <a:pt x="359" y="85"/>
                      <a:pt x="359" y="85"/>
                    </a:cubicBezTo>
                    <a:cubicBezTo>
                      <a:pt x="356" y="89"/>
                      <a:pt x="356" y="94"/>
                      <a:pt x="359" y="98"/>
                    </a:cubicBezTo>
                    <a:cubicBezTo>
                      <a:pt x="409" y="147"/>
                      <a:pt x="409" y="147"/>
                      <a:pt x="409" y="147"/>
                    </a:cubicBezTo>
                    <a:cubicBezTo>
                      <a:pt x="368" y="188"/>
                      <a:pt x="368" y="188"/>
                      <a:pt x="368" y="188"/>
                    </a:cubicBezTo>
                    <a:cubicBezTo>
                      <a:pt x="367" y="182"/>
                      <a:pt x="364" y="177"/>
                      <a:pt x="359" y="172"/>
                    </a:cubicBezTo>
                    <a:cubicBezTo>
                      <a:pt x="346" y="159"/>
                      <a:pt x="323" y="159"/>
                      <a:pt x="309" y="172"/>
                    </a:cubicBezTo>
                    <a:cubicBezTo>
                      <a:pt x="295" y="186"/>
                      <a:pt x="295" y="209"/>
                      <a:pt x="309" y="222"/>
                    </a:cubicBezTo>
                    <a:cubicBezTo>
                      <a:pt x="314" y="227"/>
                      <a:pt x="319" y="230"/>
                      <a:pt x="325" y="231"/>
                    </a:cubicBezTo>
                    <a:cubicBezTo>
                      <a:pt x="284" y="272"/>
                      <a:pt x="284" y="272"/>
                      <a:pt x="284" y="272"/>
                    </a:cubicBezTo>
                    <a:cubicBezTo>
                      <a:pt x="234" y="222"/>
                      <a:pt x="234" y="222"/>
                      <a:pt x="234" y="222"/>
                    </a:cubicBezTo>
                    <a:cubicBezTo>
                      <a:pt x="233" y="221"/>
                      <a:pt x="230" y="220"/>
                      <a:pt x="228" y="220"/>
                    </a:cubicBezTo>
                    <a:cubicBezTo>
                      <a:pt x="226" y="220"/>
                      <a:pt x="223" y="221"/>
                      <a:pt x="222" y="222"/>
                    </a:cubicBezTo>
                    <a:cubicBezTo>
                      <a:pt x="211" y="233"/>
                      <a:pt x="211" y="233"/>
                      <a:pt x="211" y="233"/>
                    </a:cubicBezTo>
                    <a:cubicBezTo>
                      <a:pt x="209" y="235"/>
                      <a:pt x="208" y="238"/>
                      <a:pt x="208" y="240"/>
                    </a:cubicBezTo>
                    <a:cubicBezTo>
                      <a:pt x="208" y="245"/>
                      <a:pt x="207" y="250"/>
                      <a:pt x="203" y="254"/>
                    </a:cubicBezTo>
                    <a:cubicBezTo>
                      <a:pt x="196" y="260"/>
                      <a:pt x="185" y="260"/>
                      <a:pt x="178" y="254"/>
                    </a:cubicBezTo>
                    <a:cubicBezTo>
                      <a:pt x="171" y="247"/>
                      <a:pt x="171" y="235"/>
                      <a:pt x="178" y="229"/>
                    </a:cubicBezTo>
                    <a:cubicBezTo>
                      <a:pt x="181" y="225"/>
                      <a:pt x="186" y="224"/>
                      <a:pt x="191" y="224"/>
                    </a:cubicBezTo>
                    <a:cubicBezTo>
                      <a:pt x="192" y="224"/>
                      <a:pt x="192" y="224"/>
                      <a:pt x="192" y="224"/>
                    </a:cubicBezTo>
                    <a:cubicBezTo>
                      <a:pt x="194" y="224"/>
                      <a:pt x="197" y="223"/>
                      <a:pt x="198" y="221"/>
                    </a:cubicBezTo>
                    <a:cubicBezTo>
                      <a:pt x="209" y="210"/>
                      <a:pt x="209" y="210"/>
                      <a:pt x="209" y="210"/>
                    </a:cubicBezTo>
                    <a:cubicBezTo>
                      <a:pt x="211" y="208"/>
                      <a:pt x="212" y="206"/>
                      <a:pt x="212" y="204"/>
                    </a:cubicBezTo>
                    <a:cubicBezTo>
                      <a:pt x="212" y="201"/>
                      <a:pt x="211" y="199"/>
                      <a:pt x="209" y="197"/>
                    </a:cubicBezTo>
                    <a:cubicBezTo>
                      <a:pt x="159" y="147"/>
                      <a:pt x="159" y="147"/>
                      <a:pt x="159" y="147"/>
                    </a:cubicBezTo>
                    <a:lnTo>
                      <a:pt x="200" y="107"/>
                    </a:lnTo>
                    <a:close/>
                    <a:moveTo>
                      <a:pt x="106" y="369"/>
                    </a:moveTo>
                    <a:cubicBezTo>
                      <a:pt x="112" y="367"/>
                      <a:pt x="118" y="364"/>
                      <a:pt x="122" y="360"/>
                    </a:cubicBezTo>
                    <a:cubicBezTo>
                      <a:pt x="129" y="353"/>
                      <a:pt x="132" y="344"/>
                      <a:pt x="132" y="335"/>
                    </a:cubicBezTo>
                    <a:cubicBezTo>
                      <a:pt x="132" y="325"/>
                      <a:pt x="129" y="316"/>
                      <a:pt x="122" y="310"/>
                    </a:cubicBezTo>
                    <a:cubicBezTo>
                      <a:pt x="108" y="296"/>
                      <a:pt x="86" y="296"/>
                      <a:pt x="72" y="310"/>
                    </a:cubicBezTo>
                    <a:cubicBezTo>
                      <a:pt x="68" y="314"/>
                      <a:pt x="65" y="320"/>
                      <a:pt x="63" y="326"/>
                    </a:cubicBezTo>
                    <a:cubicBezTo>
                      <a:pt x="22" y="285"/>
                      <a:pt x="22" y="285"/>
                      <a:pt x="22" y="285"/>
                    </a:cubicBezTo>
                    <a:cubicBezTo>
                      <a:pt x="72" y="235"/>
                      <a:pt x="72" y="235"/>
                      <a:pt x="72" y="235"/>
                    </a:cubicBezTo>
                    <a:cubicBezTo>
                      <a:pt x="76" y="231"/>
                      <a:pt x="76" y="226"/>
                      <a:pt x="72" y="222"/>
                    </a:cubicBezTo>
                    <a:cubicBezTo>
                      <a:pt x="61" y="211"/>
                      <a:pt x="61" y="211"/>
                      <a:pt x="61" y="211"/>
                    </a:cubicBezTo>
                    <a:cubicBezTo>
                      <a:pt x="59" y="209"/>
                      <a:pt x="57" y="209"/>
                      <a:pt x="54" y="209"/>
                    </a:cubicBezTo>
                    <a:cubicBezTo>
                      <a:pt x="49" y="209"/>
                      <a:pt x="44" y="207"/>
                      <a:pt x="41" y="204"/>
                    </a:cubicBezTo>
                    <a:cubicBezTo>
                      <a:pt x="38" y="200"/>
                      <a:pt x="36" y="196"/>
                      <a:pt x="36" y="191"/>
                    </a:cubicBezTo>
                    <a:cubicBezTo>
                      <a:pt x="36" y="186"/>
                      <a:pt x="38" y="182"/>
                      <a:pt x="41" y="179"/>
                    </a:cubicBezTo>
                    <a:cubicBezTo>
                      <a:pt x="48" y="172"/>
                      <a:pt x="59" y="172"/>
                      <a:pt x="66" y="179"/>
                    </a:cubicBezTo>
                    <a:cubicBezTo>
                      <a:pt x="69" y="182"/>
                      <a:pt x="71" y="187"/>
                      <a:pt x="71" y="192"/>
                    </a:cubicBezTo>
                    <a:cubicBezTo>
                      <a:pt x="71" y="195"/>
                      <a:pt x="72" y="197"/>
                      <a:pt x="73" y="199"/>
                    </a:cubicBezTo>
                    <a:cubicBezTo>
                      <a:pt x="85" y="210"/>
                      <a:pt x="85" y="210"/>
                      <a:pt x="85" y="210"/>
                    </a:cubicBezTo>
                    <a:cubicBezTo>
                      <a:pt x="86" y="212"/>
                      <a:pt x="88" y="212"/>
                      <a:pt x="91" y="212"/>
                    </a:cubicBezTo>
                    <a:cubicBezTo>
                      <a:pt x="93" y="212"/>
                      <a:pt x="95" y="212"/>
                      <a:pt x="97" y="210"/>
                    </a:cubicBezTo>
                    <a:cubicBezTo>
                      <a:pt x="147" y="160"/>
                      <a:pt x="147" y="160"/>
                      <a:pt x="147" y="160"/>
                    </a:cubicBezTo>
                    <a:cubicBezTo>
                      <a:pt x="191" y="204"/>
                      <a:pt x="191" y="204"/>
                      <a:pt x="191" y="204"/>
                    </a:cubicBezTo>
                    <a:cubicBezTo>
                      <a:pt x="188" y="206"/>
                      <a:pt x="188" y="206"/>
                      <a:pt x="188" y="206"/>
                    </a:cubicBezTo>
                    <a:cubicBezTo>
                      <a:pt x="180" y="206"/>
                      <a:pt x="172" y="210"/>
                      <a:pt x="166" y="216"/>
                    </a:cubicBezTo>
                    <a:cubicBezTo>
                      <a:pt x="152" y="230"/>
                      <a:pt x="152" y="252"/>
                      <a:pt x="166" y="266"/>
                    </a:cubicBezTo>
                    <a:cubicBezTo>
                      <a:pt x="179" y="279"/>
                      <a:pt x="202" y="279"/>
                      <a:pt x="216" y="266"/>
                    </a:cubicBezTo>
                    <a:cubicBezTo>
                      <a:pt x="222" y="260"/>
                      <a:pt x="225" y="252"/>
                      <a:pt x="226" y="243"/>
                    </a:cubicBezTo>
                    <a:cubicBezTo>
                      <a:pt x="228" y="241"/>
                      <a:pt x="228" y="241"/>
                      <a:pt x="228" y="241"/>
                    </a:cubicBezTo>
                    <a:cubicBezTo>
                      <a:pt x="272" y="285"/>
                      <a:pt x="272" y="285"/>
                      <a:pt x="272" y="285"/>
                    </a:cubicBezTo>
                    <a:cubicBezTo>
                      <a:pt x="222" y="335"/>
                      <a:pt x="222" y="335"/>
                      <a:pt x="222" y="335"/>
                    </a:cubicBezTo>
                    <a:cubicBezTo>
                      <a:pt x="220" y="336"/>
                      <a:pt x="219" y="339"/>
                      <a:pt x="219" y="341"/>
                    </a:cubicBezTo>
                    <a:cubicBezTo>
                      <a:pt x="219" y="343"/>
                      <a:pt x="220" y="346"/>
                      <a:pt x="222" y="347"/>
                    </a:cubicBezTo>
                    <a:cubicBezTo>
                      <a:pt x="233" y="358"/>
                      <a:pt x="233" y="358"/>
                      <a:pt x="233" y="358"/>
                    </a:cubicBezTo>
                    <a:cubicBezTo>
                      <a:pt x="235" y="360"/>
                      <a:pt x="237" y="361"/>
                      <a:pt x="240" y="361"/>
                    </a:cubicBezTo>
                    <a:cubicBezTo>
                      <a:pt x="245" y="361"/>
                      <a:pt x="250" y="362"/>
                      <a:pt x="253" y="366"/>
                    </a:cubicBezTo>
                    <a:cubicBezTo>
                      <a:pt x="260" y="373"/>
                      <a:pt x="260" y="384"/>
                      <a:pt x="253" y="391"/>
                    </a:cubicBezTo>
                    <a:cubicBezTo>
                      <a:pt x="246" y="398"/>
                      <a:pt x="235" y="398"/>
                      <a:pt x="228" y="391"/>
                    </a:cubicBezTo>
                    <a:cubicBezTo>
                      <a:pt x="225" y="387"/>
                      <a:pt x="223" y="383"/>
                      <a:pt x="223" y="377"/>
                    </a:cubicBezTo>
                    <a:cubicBezTo>
                      <a:pt x="223" y="375"/>
                      <a:pt x="222" y="373"/>
                      <a:pt x="220" y="371"/>
                    </a:cubicBezTo>
                    <a:cubicBezTo>
                      <a:pt x="209" y="360"/>
                      <a:pt x="209" y="360"/>
                      <a:pt x="209" y="360"/>
                    </a:cubicBezTo>
                    <a:cubicBezTo>
                      <a:pt x="206" y="356"/>
                      <a:pt x="200" y="356"/>
                      <a:pt x="197" y="360"/>
                    </a:cubicBezTo>
                    <a:cubicBezTo>
                      <a:pt x="147" y="410"/>
                      <a:pt x="147" y="410"/>
                      <a:pt x="147" y="410"/>
                    </a:cubicBezTo>
                    <a:lnTo>
                      <a:pt x="106" y="369"/>
                    </a:lnTo>
                    <a:close/>
                    <a:moveTo>
                      <a:pt x="368" y="463"/>
                    </a:moveTo>
                    <a:cubicBezTo>
                      <a:pt x="367" y="457"/>
                      <a:pt x="364" y="451"/>
                      <a:pt x="359" y="447"/>
                    </a:cubicBezTo>
                    <a:cubicBezTo>
                      <a:pt x="346" y="434"/>
                      <a:pt x="323" y="434"/>
                      <a:pt x="309" y="447"/>
                    </a:cubicBezTo>
                    <a:cubicBezTo>
                      <a:pt x="303" y="454"/>
                      <a:pt x="299" y="463"/>
                      <a:pt x="299" y="472"/>
                    </a:cubicBezTo>
                    <a:cubicBezTo>
                      <a:pt x="299" y="481"/>
                      <a:pt x="303" y="490"/>
                      <a:pt x="309" y="497"/>
                    </a:cubicBezTo>
                    <a:cubicBezTo>
                      <a:pt x="314" y="501"/>
                      <a:pt x="319" y="504"/>
                      <a:pt x="325" y="506"/>
                    </a:cubicBezTo>
                    <a:cubicBezTo>
                      <a:pt x="284" y="547"/>
                      <a:pt x="284" y="547"/>
                      <a:pt x="284" y="547"/>
                    </a:cubicBezTo>
                    <a:cubicBezTo>
                      <a:pt x="234" y="497"/>
                      <a:pt x="234" y="497"/>
                      <a:pt x="234" y="497"/>
                    </a:cubicBezTo>
                    <a:cubicBezTo>
                      <a:pt x="231" y="494"/>
                      <a:pt x="225" y="494"/>
                      <a:pt x="222" y="497"/>
                    </a:cubicBezTo>
                    <a:cubicBezTo>
                      <a:pt x="211" y="508"/>
                      <a:pt x="211" y="508"/>
                      <a:pt x="211" y="508"/>
                    </a:cubicBezTo>
                    <a:cubicBezTo>
                      <a:pt x="209" y="510"/>
                      <a:pt x="208" y="512"/>
                      <a:pt x="208" y="515"/>
                    </a:cubicBezTo>
                    <a:cubicBezTo>
                      <a:pt x="208" y="520"/>
                      <a:pt x="207" y="525"/>
                      <a:pt x="203" y="528"/>
                    </a:cubicBezTo>
                    <a:cubicBezTo>
                      <a:pt x="196" y="535"/>
                      <a:pt x="185" y="535"/>
                      <a:pt x="178" y="528"/>
                    </a:cubicBezTo>
                    <a:cubicBezTo>
                      <a:pt x="171" y="521"/>
                      <a:pt x="171" y="510"/>
                      <a:pt x="178" y="503"/>
                    </a:cubicBezTo>
                    <a:cubicBezTo>
                      <a:pt x="182" y="500"/>
                      <a:pt x="186" y="498"/>
                      <a:pt x="192" y="498"/>
                    </a:cubicBezTo>
                    <a:cubicBezTo>
                      <a:pt x="194" y="498"/>
                      <a:pt x="197" y="497"/>
                      <a:pt x="198" y="496"/>
                    </a:cubicBezTo>
                    <a:cubicBezTo>
                      <a:pt x="209" y="484"/>
                      <a:pt x="209" y="484"/>
                      <a:pt x="209" y="484"/>
                    </a:cubicBezTo>
                    <a:cubicBezTo>
                      <a:pt x="213" y="481"/>
                      <a:pt x="213" y="475"/>
                      <a:pt x="209" y="472"/>
                    </a:cubicBezTo>
                    <a:cubicBezTo>
                      <a:pt x="159" y="422"/>
                      <a:pt x="159" y="422"/>
                      <a:pt x="159" y="422"/>
                    </a:cubicBezTo>
                    <a:cubicBezTo>
                      <a:pt x="203" y="378"/>
                      <a:pt x="203" y="378"/>
                      <a:pt x="203" y="378"/>
                    </a:cubicBezTo>
                    <a:cubicBezTo>
                      <a:pt x="205" y="381"/>
                      <a:pt x="205" y="381"/>
                      <a:pt x="205" y="381"/>
                    </a:cubicBezTo>
                    <a:cubicBezTo>
                      <a:pt x="206" y="389"/>
                      <a:pt x="210" y="397"/>
                      <a:pt x="216" y="403"/>
                    </a:cubicBezTo>
                    <a:cubicBezTo>
                      <a:pt x="229" y="417"/>
                      <a:pt x="252" y="417"/>
                      <a:pt x="266" y="403"/>
                    </a:cubicBezTo>
                    <a:cubicBezTo>
                      <a:pt x="272" y="397"/>
                      <a:pt x="276" y="388"/>
                      <a:pt x="276" y="378"/>
                    </a:cubicBezTo>
                    <a:cubicBezTo>
                      <a:pt x="276" y="369"/>
                      <a:pt x="272" y="360"/>
                      <a:pt x="266" y="353"/>
                    </a:cubicBezTo>
                    <a:cubicBezTo>
                      <a:pt x="260" y="347"/>
                      <a:pt x="251" y="344"/>
                      <a:pt x="243" y="343"/>
                    </a:cubicBezTo>
                    <a:cubicBezTo>
                      <a:pt x="241" y="341"/>
                      <a:pt x="241" y="341"/>
                      <a:pt x="241" y="341"/>
                    </a:cubicBezTo>
                    <a:cubicBezTo>
                      <a:pt x="284" y="297"/>
                      <a:pt x="284" y="297"/>
                      <a:pt x="284" y="297"/>
                    </a:cubicBezTo>
                    <a:cubicBezTo>
                      <a:pt x="334" y="347"/>
                      <a:pt x="334" y="347"/>
                      <a:pt x="334" y="347"/>
                    </a:cubicBezTo>
                    <a:cubicBezTo>
                      <a:pt x="338" y="351"/>
                      <a:pt x="343" y="351"/>
                      <a:pt x="347" y="347"/>
                    </a:cubicBezTo>
                    <a:cubicBezTo>
                      <a:pt x="358" y="336"/>
                      <a:pt x="358" y="336"/>
                      <a:pt x="358" y="336"/>
                    </a:cubicBezTo>
                    <a:cubicBezTo>
                      <a:pt x="360" y="334"/>
                      <a:pt x="361" y="332"/>
                      <a:pt x="360" y="329"/>
                    </a:cubicBezTo>
                    <a:cubicBezTo>
                      <a:pt x="360" y="324"/>
                      <a:pt x="362" y="320"/>
                      <a:pt x="365" y="316"/>
                    </a:cubicBezTo>
                    <a:cubicBezTo>
                      <a:pt x="372" y="309"/>
                      <a:pt x="383" y="309"/>
                      <a:pt x="390" y="316"/>
                    </a:cubicBezTo>
                    <a:cubicBezTo>
                      <a:pt x="397" y="323"/>
                      <a:pt x="397" y="334"/>
                      <a:pt x="390" y="341"/>
                    </a:cubicBezTo>
                    <a:cubicBezTo>
                      <a:pt x="387" y="344"/>
                      <a:pt x="382" y="346"/>
                      <a:pt x="377" y="346"/>
                    </a:cubicBezTo>
                    <a:cubicBezTo>
                      <a:pt x="375" y="346"/>
                      <a:pt x="372" y="347"/>
                      <a:pt x="370" y="349"/>
                    </a:cubicBezTo>
                    <a:cubicBezTo>
                      <a:pt x="359" y="360"/>
                      <a:pt x="359" y="360"/>
                      <a:pt x="359" y="360"/>
                    </a:cubicBezTo>
                    <a:cubicBezTo>
                      <a:pt x="357" y="361"/>
                      <a:pt x="357" y="364"/>
                      <a:pt x="357" y="366"/>
                    </a:cubicBezTo>
                    <a:cubicBezTo>
                      <a:pt x="357" y="368"/>
                      <a:pt x="357" y="371"/>
                      <a:pt x="359" y="372"/>
                    </a:cubicBezTo>
                    <a:cubicBezTo>
                      <a:pt x="409" y="422"/>
                      <a:pt x="409" y="422"/>
                      <a:pt x="409" y="422"/>
                    </a:cubicBezTo>
                    <a:lnTo>
                      <a:pt x="368" y="463"/>
                    </a:lnTo>
                    <a:close/>
                    <a:moveTo>
                      <a:pt x="496" y="335"/>
                    </a:moveTo>
                    <a:cubicBezTo>
                      <a:pt x="493" y="338"/>
                      <a:pt x="493" y="344"/>
                      <a:pt x="496" y="347"/>
                    </a:cubicBezTo>
                    <a:cubicBezTo>
                      <a:pt x="508" y="358"/>
                      <a:pt x="508" y="358"/>
                      <a:pt x="508" y="358"/>
                    </a:cubicBezTo>
                    <a:cubicBezTo>
                      <a:pt x="509" y="360"/>
                      <a:pt x="512" y="361"/>
                      <a:pt x="514" y="361"/>
                    </a:cubicBezTo>
                    <a:cubicBezTo>
                      <a:pt x="519" y="361"/>
                      <a:pt x="524" y="362"/>
                      <a:pt x="528" y="366"/>
                    </a:cubicBezTo>
                    <a:cubicBezTo>
                      <a:pt x="531" y="369"/>
                      <a:pt x="533" y="374"/>
                      <a:pt x="533" y="378"/>
                    </a:cubicBezTo>
                    <a:cubicBezTo>
                      <a:pt x="533" y="383"/>
                      <a:pt x="531" y="388"/>
                      <a:pt x="528" y="391"/>
                    </a:cubicBezTo>
                    <a:cubicBezTo>
                      <a:pt x="521" y="398"/>
                      <a:pt x="510" y="398"/>
                      <a:pt x="503" y="391"/>
                    </a:cubicBezTo>
                    <a:cubicBezTo>
                      <a:pt x="499" y="387"/>
                      <a:pt x="497" y="383"/>
                      <a:pt x="498" y="377"/>
                    </a:cubicBezTo>
                    <a:cubicBezTo>
                      <a:pt x="498" y="375"/>
                      <a:pt x="497" y="373"/>
                      <a:pt x="495" y="371"/>
                    </a:cubicBezTo>
                    <a:cubicBezTo>
                      <a:pt x="484" y="360"/>
                      <a:pt x="484" y="360"/>
                      <a:pt x="484" y="360"/>
                    </a:cubicBezTo>
                    <a:cubicBezTo>
                      <a:pt x="482" y="358"/>
                      <a:pt x="480" y="357"/>
                      <a:pt x="478" y="357"/>
                    </a:cubicBezTo>
                    <a:cubicBezTo>
                      <a:pt x="475" y="357"/>
                      <a:pt x="473" y="358"/>
                      <a:pt x="471" y="360"/>
                    </a:cubicBezTo>
                    <a:cubicBezTo>
                      <a:pt x="422" y="410"/>
                      <a:pt x="422" y="410"/>
                      <a:pt x="422" y="410"/>
                    </a:cubicBezTo>
                    <a:cubicBezTo>
                      <a:pt x="378" y="366"/>
                      <a:pt x="378" y="366"/>
                      <a:pt x="378" y="366"/>
                    </a:cubicBezTo>
                    <a:cubicBezTo>
                      <a:pt x="380" y="364"/>
                      <a:pt x="380" y="364"/>
                      <a:pt x="380" y="364"/>
                    </a:cubicBezTo>
                    <a:cubicBezTo>
                      <a:pt x="389" y="363"/>
                      <a:pt x="397" y="359"/>
                      <a:pt x="403" y="353"/>
                    </a:cubicBezTo>
                    <a:cubicBezTo>
                      <a:pt x="417" y="340"/>
                      <a:pt x="417" y="317"/>
                      <a:pt x="403" y="303"/>
                    </a:cubicBezTo>
                    <a:cubicBezTo>
                      <a:pt x="389" y="290"/>
                      <a:pt x="367" y="290"/>
                      <a:pt x="353" y="303"/>
                    </a:cubicBezTo>
                    <a:cubicBezTo>
                      <a:pt x="347" y="310"/>
                      <a:pt x="343" y="318"/>
                      <a:pt x="343" y="326"/>
                    </a:cubicBezTo>
                    <a:cubicBezTo>
                      <a:pt x="340" y="328"/>
                      <a:pt x="340" y="328"/>
                      <a:pt x="340" y="328"/>
                    </a:cubicBezTo>
                    <a:cubicBezTo>
                      <a:pt x="297" y="285"/>
                      <a:pt x="297" y="285"/>
                      <a:pt x="297" y="285"/>
                    </a:cubicBezTo>
                    <a:cubicBezTo>
                      <a:pt x="347" y="235"/>
                      <a:pt x="347" y="235"/>
                      <a:pt x="347" y="235"/>
                    </a:cubicBezTo>
                    <a:cubicBezTo>
                      <a:pt x="350" y="231"/>
                      <a:pt x="350" y="226"/>
                      <a:pt x="347" y="222"/>
                    </a:cubicBezTo>
                    <a:cubicBezTo>
                      <a:pt x="342" y="217"/>
                      <a:pt x="342" y="217"/>
                      <a:pt x="342" y="217"/>
                    </a:cubicBezTo>
                    <a:cubicBezTo>
                      <a:pt x="340" y="216"/>
                      <a:pt x="338" y="215"/>
                      <a:pt x="335" y="215"/>
                    </a:cubicBezTo>
                    <a:cubicBezTo>
                      <a:pt x="334" y="215"/>
                      <a:pt x="334" y="215"/>
                      <a:pt x="334" y="215"/>
                    </a:cubicBezTo>
                    <a:cubicBezTo>
                      <a:pt x="329" y="215"/>
                      <a:pt x="325" y="213"/>
                      <a:pt x="322" y="210"/>
                    </a:cubicBezTo>
                    <a:cubicBezTo>
                      <a:pt x="315" y="203"/>
                      <a:pt x="315" y="192"/>
                      <a:pt x="322" y="185"/>
                    </a:cubicBezTo>
                    <a:cubicBezTo>
                      <a:pt x="328" y="178"/>
                      <a:pt x="340" y="178"/>
                      <a:pt x="347" y="185"/>
                    </a:cubicBezTo>
                    <a:cubicBezTo>
                      <a:pt x="350" y="188"/>
                      <a:pt x="352" y="193"/>
                      <a:pt x="352" y="198"/>
                    </a:cubicBezTo>
                    <a:cubicBezTo>
                      <a:pt x="352" y="201"/>
                      <a:pt x="352" y="203"/>
                      <a:pt x="354" y="205"/>
                    </a:cubicBezTo>
                    <a:cubicBezTo>
                      <a:pt x="359" y="210"/>
                      <a:pt x="359" y="210"/>
                      <a:pt x="359" y="210"/>
                    </a:cubicBezTo>
                    <a:cubicBezTo>
                      <a:pt x="363" y="213"/>
                      <a:pt x="368" y="213"/>
                      <a:pt x="372" y="210"/>
                    </a:cubicBezTo>
                    <a:cubicBezTo>
                      <a:pt x="422" y="160"/>
                      <a:pt x="422" y="160"/>
                      <a:pt x="422" y="160"/>
                    </a:cubicBezTo>
                    <a:cubicBezTo>
                      <a:pt x="462" y="201"/>
                      <a:pt x="462" y="201"/>
                      <a:pt x="462" y="201"/>
                    </a:cubicBezTo>
                    <a:cubicBezTo>
                      <a:pt x="456" y="202"/>
                      <a:pt x="451" y="205"/>
                      <a:pt x="447" y="210"/>
                    </a:cubicBezTo>
                    <a:cubicBezTo>
                      <a:pt x="440" y="217"/>
                      <a:pt x="436" y="225"/>
                      <a:pt x="436" y="235"/>
                    </a:cubicBezTo>
                    <a:cubicBezTo>
                      <a:pt x="436" y="244"/>
                      <a:pt x="440" y="253"/>
                      <a:pt x="447" y="260"/>
                    </a:cubicBezTo>
                    <a:cubicBezTo>
                      <a:pt x="460" y="273"/>
                      <a:pt x="483" y="273"/>
                      <a:pt x="496" y="260"/>
                    </a:cubicBezTo>
                    <a:cubicBezTo>
                      <a:pt x="501" y="255"/>
                      <a:pt x="504" y="250"/>
                      <a:pt x="506" y="244"/>
                    </a:cubicBezTo>
                    <a:cubicBezTo>
                      <a:pt x="546" y="285"/>
                      <a:pt x="546" y="285"/>
                      <a:pt x="546" y="285"/>
                    </a:cubicBezTo>
                    <a:lnTo>
                      <a:pt x="496" y="335"/>
                    </a:lnTo>
                    <a:close/>
                  </a:path>
                </a:pathLst>
              </a:custGeom>
              <a:grpFill/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1" name="Group 36">
              <a:extLst>
                <a:ext uri="{FF2B5EF4-FFF2-40B4-BE49-F238E27FC236}">
                  <a16:creationId xmlns:a16="http://schemas.microsoft.com/office/drawing/2014/main" id="{F748816C-095A-4203-8639-9376353B5A1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419475" y="2178047"/>
              <a:ext cx="317500" cy="330199"/>
              <a:chOff x="2154" y="1372"/>
              <a:chExt cx="200" cy="208"/>
            </a:xfrm>
          </p:grpSpPr>
          <p:sp>
            <p:nvSpPr>
              <p:cNvPr id="82" name="Freeform 37">
                <a:extLst>
                  <a:ext uri="{FF2B5EF4-FFF2-40B4-BE49-F238E27FC236}">
                    <a16:creationId xmlns:a16="http://schemas.microsoft.com/office/drawing/2014/main" id="{9FEE6482-69BF-4D85-AF52-A1B12CCD0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2" y="1411"/>
                <a:ext cx="30" cy="30"/>
              </a:xfrm>
              <a:custGeom>
                <a:avLst/>
                <a:gdLst>
                  <a:gd name="T0" fmla="*/ 5 w 25"/>
                  <a:gd name="T1" fmla="*/ 4 h 25"/>
                  <a:gd name="T2" fmla="*/ 5 w 25"/>
                  <a:gd name="T3" fmla="*/ 20 h 25"/>
                  <a:gd name="T4" fmla="*/ 21 w 25"/>
                  <a:gd name="T5" fmla="*/ 20 h 25"/>
                  <a:gd name="T6" fmla="*/ 21 w 25"/>
                  <a:gd name="T7" fmla="*/ 4 h 25"/>
                  <a:gd name="T8" fmla="*/ 5 w 25"/>
                  <a:gd name="T9" fmla="*/ 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5">
                    <a:moveTo>
                      <a:pt x="5" y="4"/>
                    </a:moveTo>
                    <a:cubicBezTo>
                      <a:pt x="0" y="9"/>
                      <a:pt x="0" y="16"/>
                      <a:pt x="5" y="20"/>
                    </a:cubicBezTo>
                    <a:cubicBezTo>
                      <a:pt x="9" y="25"/>
                      <a:pt x="16" y="25"/>
                      <a:pt x="21" y="20"/>
                    </a:cubicBezTo>
                    <a:cubicBezTo>
                      <a:pt x="25" y="16"/>
                      <a:pt x="25" y="9"/>
                      <a:pt x="21" y="4"/>
                    </a:cubicBezTo>
                    <a:cubicBezTo>
                      <a:pt x="16" y="0"/>
                      <a:pt x="9" y="0"/>
                      <a:pt x="5" y="4"/>
                    </a:cubicBezTo>
                    <a:close/>
                  </a:path>
                </a:pathLst>
              </a:custGeom>
              <a:solidFill>
                <a:srgbClr val="F2675F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38">
                <a:extLst>
                  <a:ext uri="{FF2B5EF4-FFF2-40B4-BE49-F238E27FC236}">
                    <a16:creationId xmlns:a16="http://schemas.microsoft.com/office/drawing/2014/main" id="{EB94EEF6-5F2B-4055-9DD0-6E442850CD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54" y="1372"/>
                <a:ext cx="200" cy="208"/>
              </a:xfrm>
              <a:custGeom>
                <a:avLst/>
                <a:gdLst>
                  <a:gd name="T0" fmla="*/ 63 w 167"/>
                  <a:gd name="T1" fmla="*/ 0 h 174"/>
                  <a:gd name="T2" fmla="*/ 0 w 167"/>
                  <a:gd name="T3" fmla="*/ 0 h 174"/>
                  <a:gd name="T4" fmla="*/ 0 w 167"/>
                  <a:gd name="T5" fmla="*/ 65 h 174"/>
                  <a:gd name="T6" fmla="*/ 100 w 167"/>
                  <a:gd name="T7" fmla="*/ 169 h 174"/>
                  <a:gd name="T8" fmla="*/ 116 w 167"/>
                  <a:gd name="T9" fmla="*/ 169 h 174"/>
                  <a:gd name="T10" fmla="*/ 163 w 167"/>
                  <a:gd name="T11" fmla="*/ 120 h 174"/>
                  <a:gd name="T12" fmla="*/ 163 w 167"/>
                  <a:gd name="T13" fmla="*/ 104 h 174"/>
                  <a:gd name="T14" fmla="*/ 63 w 167"/>
                  <a:gd name="T15" fmla="*/ 0 h 174"/>
                  <a:gd name="T16" fmla="*/ 53 w 167"/>
                  <a:gd name="T17" fmla="*/ 53 h 174"/>
                  <a:gd name="T18" fmla="*/ 37 w 167"/>
                  <a:gd name="T19" fmla="*/ 53 h 174"/>
                  <a:gd name="T20" fmla="*/ 37 w 167"/>
                  <a:gd name="T21" fmla="*/ 37 h 174"/>
                  <a:gd name="T22" fmla="*/ 53 w 167"/>
                  <a:gd name="T23" fmla="*/ 37 h 174"/>
                  <a:gd name="T24" fmla="*/ 53 w 167"/>
                  <a:gd name="T25" fmla="*/ 53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7" h="174">
                    <a:moveTo>
                      <a:pt x="6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100" y="169"/>
                      <a:pt x="100" y="169"/>
                      <a:pt x="100" y="169"/>
                    </a:cubicBezTo>
                    <a:cubicBezTo>
                      <a:pt x="104" y="174"/>
                      <a:pt x="111" y="174"/>
                      <a:pt x="116" y="169"/>
                    </a:cubicBezTo>
                    <a:cubicBezTo>
                      <a:pt x="163" y="120"/>
                      <a:pt x="163" y="120"/>
                      <a:pt x="163" y="120"/>
                    </a:cubicBezTo>
                    <a:cubicBezTo>
                      <a:pt x="167" y="115"/>
                      <a:pt x="167" y="108"/>
                      <a:pt x="163" y="104"/>
                    </a:cubicBezTo>
                    <a:cubicBezTo>
                      <a:pt x="63" y="0"/>
                      <a:pt x="63" y="0"/>
                      <a:pt x="63" y="0"/>
                    </a:cubicBezTo>
                    <a:close/>
                    <a:moveTo>
                      <a:pt x="53" y="53"/>
                    </a:moveTo>
                    <a:cubicBezTo>
                      <a:pt x="48" y="58"/>
                      <a:pt x="41" y="58"/>
                      <a:pt x="37" y="53"/>
                    </a:cubicBezTo>
                    <a:cubicBezTo>
                      <a:pt x="32" y="49"/>
                      <a:pt x="32" y="42"/>
                      <a:pt x="37" y="37"/>
                    </a:cubicBezTo>
                    <a:cubicBezTo>
                      <a:pt x="41" y="33"/>
                      <a:pt x="48" y="33"/>
                      <a:pt x="53" y="37"/>
                    </a:cubicBezTo>
                    <a:cubicBezTo>
                      <a:pt x="57" y="42"/>
                      <a:pt x="57" y="49"/>
                      <a:pt x="53" y="53"/>
                    </a:cubicBezTo>
                    <a:close/>
                  </a:path>
                </a:pathLst>
              </a:custGeom>
              <a:solidFill>
                <a:srgbClr val="F2675F"/>
              </a:solidFill>
              <a:ln w="9525">
                <a:solidFill>
                  <a:srgbClr val="F2F2F2"/>
                </a:solidFill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6719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מלבן 130"/>
          <p:cNvSpPr/>
          <p:nvPr/>
        </p:nvSpPr>
        <p:spPr>
          <a:xfrm>
            <a:off x="269954" y="1062303"/>
            <a:ext cx="1877406" cy="2822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e-IL" sz="1799" dirty="0" err="1"/>
          </a:p>
        </p:txBody>
      </p:sp>
      <p:sp>
        <p:nvSpPr>
          <p:cNvPr id="108" name="מלבן 107"/>
          <p:cNvSpPr/>
          <p:nvPr/>
        </p:nvSpPr>
        <p:spPr>
          <a:xfrm>
            <a:off x="269953" y="6136208"/>
            <a:ext cx="11706181" cy="7208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e-IL" sz="1799" dirty="0" err="1"/>
          </a:p>
        </p:txBody>
      </p:sp>
      <p:sp>
        <p:nvSpPr>
          <p:cNvPr id="5" name="Rectangle 1"/>
          <p:cNvSpPr/>
          <p:nvPr/>
        </p:nvSpPr>
        <p:spPr>
          <a:xfrm>
            <a:off x="5783377" y="2321898"/>
            <a:ext cx="5018288" cy="2747277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dirty="0">
                <a:solidFill>
                  <a:schemeClr val="tx2"/>
                </a:solidFill>
              </a:rPr>
              <a:t>Widget repository </a:t>
            </a:r>
          </a:p>
        </p:txBody>
      </p:sp>
      <p:sp>
        <p:nvSpPr>
          <p:cNvPr id="6" name="Rectangle 24"/>
          <p:cNvSpPr/>
          <p:nvPr/>
        </p:nvSpPr>
        <p:spPr>
          <a:xfrm>
            <a:off x="989996" y="2314939"/>
            <a:ext cx="4139058" cy="2733626"/>
          </a:xfrm>
          <a:prstGeom prst="rect">
            <a:avLst/>
          </a:prstGeom>
          <a:solidFill>
            <a:schemeClr val="bg1"/>
          </a:solidFill>
          <a:ln w="19050" cap="sq" cmpd="sng">
            <a:solidFill>
              <a:schemeClr val="accent6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Adobe Experience Manager</a:t>
            </a:r>
          </a:p>
        </p:txBody>
      </p:sp>
      <p:sp>
        <p:nvSpPr>
          <p:cNvPr id="9" name="TextBox 8"/>
          <p:cNvSpPr txBox="1"/>
          <p:nvPr/>
        </p:nvSpPr>
        <p:spPr>
          <a:xfrm rot="16200000">
            <a:off x="5739074" y="620033"/>
            <a:ext cx="841044" cy="1093169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rIns="0" rtlCol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302E45"/>
                </a:solidFill>
              </a:rPr>
              <a:t>DIGITAL </a:t>
            </a:r>
            <a:br>
              <a:rPr lang="en-US" dirty="0">
                <a:solidFill>
                  <a:srgbClr val="302E45"/>
                </a:solidFill>
              </a:rPr>
            </a:br>
            <a:r>
              <a:rPr lang="en-US" dirty="0">
                <a:solidFill>
                  <a:srgbClr val="302E45"/>
                </a:solidFill>
              </a:rPr>
              <a:t>SERVICES </a:t>
            </a:r>
            <a:br>
              <a:rPr lang="en-US" dirty="0">
                <a:solidFill>
                  <a:srgbClr val="302E45"/>
                </a:solidFill>
              </a:rPr>
            </a:br>
            <a:r>
              <a:rPr lang="en-US" dirty="0">
                <a:solidFill>
                  <a:srgbClr val="302E45"/>
                </a:solidFill>
              </a:rPr>
              <a:t>LAYER </a:t>
            </a:r>
          </a:p>
        </p:txBody>
      </p:sp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546377" y="288837"/>
            <a:ext cx="11088784" cy="553854"/>
          </a:xfrm>
        </p:spPr>
        <p:txBody>
          <a:bodyPr/>
          <a:lstStyle/>
          <a:p>
            <a:r>
              <a:rPr lang="en-US" dirty="0"/>
              <a:t>Digital Platform – client side architecture (UXF 1.5)</a:t>
            </a:r>
          </a:p>
        </p:txBody>
      </p:sp>
      <p:sp>
        <p:nvSpPr>
          <p:cNvPr id="11" name="Rectangle 26"/>
          <p:cNvSpPr/>
          <p:nvPr/>
        </p:nvSpPr>
        <p:spPr>
          <a:xfrm>
            <a:off x="1515851" y="3424142"/>
            <a:ext cx="9590985" cy="338122"/>
          </a:xfrm>
          <a:prstGeom prst="rect">
            <a:avLst/>
          </a:prstGeom>
          <a:noFill/>
          <a:ln w="127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en-US" sz="1200" b="1" dirty="0">
              <a:solidFill>
                <a:srgbClr val="626469"/>
              </a:solidFill>
            </a:endParaRPr>
          </a:p>
        </p:txBody>
      </p:sp>
      <p:sp>
        <p:nvSpPr>
          <p:cNvPr id="12" name="Rectangle 27"/>
          <p:cNvSpPr/>
          <p:nvPr/>
        </p:nvSpPr>
        <p:spPr>
          <a:xfrm>
            <a:off x="4252219" y="6083180"/>
            <a:ext cx="1383540" cy="34284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cap="sq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Order 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bg1"/>
                </a:solidFill>
              </a:rPr>
              <a:t>capture</a:t>
            </a:r>
          </a:p>
        </p:txBody>
      </p:sp>
      <p:sp>
        <p:nvSpPr>
          <p:cNvPr id="13" name="Rectangle 29"/>
          <p:cNvSpPr/>
          <p:nvPr/>
        </p:nvSpPr>
        <p:spPr>
          <a:xfrm>
            <a:off x="1244449" y="6083180"/>
            <a:ext cx="1364053" cy="34284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cap="sq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Catalog discovery</a:t>
            </a:r>
          </a:p>
        </p:txBody>
      </p:sp>
      <p:sp>
        <p:nvSpPr>
          <p:cNvPr id="14" name="Rectangle 37"/>
          <p:cNvSpPr/>
          <p:nvPr/>
        </p:nvSpPr>
        <p:spPr>
          <a:xfrm>
            <a:off x="2663893" y="6083180"/>
            <a:ext cx="1532935" cy="34284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cap="sq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Commerce 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bg1"/>
                </a:solidFill>
              </a:rPr>
              <a:t>price</a:t>
            </a:r>
          </a:p>
        </p:txBody>
      </p:sp>
      <p:sp>
        <p:nvSpPr>
          <p:cNvPr id="16" name="Rectangle 39"/>
          <p:cNvSpPr/>
          <p:nvPr/>
        </p:nvSpPr>
        <p:spPr>
          <a:xfrm>
            <a:off x="7015883" y="6083180"/>
            <a:ext cx="1383938" cy="342841"/>
          </a:xfrm>
          <a:prstGeom prst="rect">
            <a:avLst/>
          </a:prstGeom>
          <a:solidFill>
            <a:schemeClr val="accent2"/>
          </a:solidFill>
          <a:ln w="19050" cap="sq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Customer 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bg1"/>
                </a:solidFill>
              </a:rPr>
              <a:t>care</a:t>
            </a:r>
          </a:p>
        </p:txBody>
      </p:sp>
      <p:sp>
        <p:nvSpPr>
          <p:cNvPr id="17" name="Rectangle 41"/>
          <p:cNvSpPr/>
          <p:nvPr/>
        </p:nvSpPr>
        <p:spPr>
          <a:xfrm>
            <a:off x="8455213" y="6083180"/>
            <a:ext cx="1402160" cy="342841"/>
          </a:xfrm>
          <a:prstGeom prst="rect">
            <a:avLst/>
          </a:prstGeom>
          <a:solidFill>
            <a:schemeClr val="accent2"/>
          </a:solidFill>
          <a:ln w="19050" cap="sq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Customer product</a:t>
            </a:r>
          </a:p>
        </p:txBody>
      </p:sp>
      <p:sp>
        <p:nvSpPr>
          <p:cNvPr id="18" name="Rectangle 44"/>
          <p:cNvSpPr/>
          <p:nvPr/>
        </p:nvSpPr>
        <p:spPr>
          <a:xfrm>
            <a:off x="9912763" y="6083180"/>
            <a:ext cx="1635695" cy="342841"/>
          </a:xfrm>
          <a:prstGeom prst="rect">
            <a:avLst/>
          </a:prstGeom>
          <a:solidFill>
            <a:schemeClr val="accent2"/>
          </a:solidFill>
          <a:ln w="19050" cap="sq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User  management</a:t>
            </a:r>
          </a:p>
        </p:txBody>
      </p:sp>
      <p:sp>
        <p:nvSpPr>
          <p:cNvPr id="19" name="Rectangle 45"/>
          <p:cNvSpPr/>
          <p:nvPr/>
        </p:nvSpPr>
        <p:spPr>
          <a:xfrm>
            <a:off x="1244449" y="5751088"/>
            <a:ext cx="1362027" cy="2862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cap="sq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Digital catalog</a:t>
            </a:r>
          </a:p>
        </p:txBody>
      </p:sp>
      <p:grpSp>
        <p:nvGrpSpPr>
          <p:cNvPr id="109" name="קבוצה 108"/>
          <p:cNvGrpSpPr/>
          <p:nvPr/>
        </p:nvGrpSpPr>
        <p:grpSpPr>
          <a:xfrm>
            <a:off x="6601036" y="5702169"/>
            <a:ext cx="4877265" cy="341542"/>
            <a:chOff x="6645715" y="5715035"/>
            <a:chExt cx="4878535" cy="341631"/>
          </a:xfrm>
        </p:grpSpPr>
        <p:pic>
          <p:nvPicPr>
            <p:cNvPr id="25" name="Picture 16" descr="Image result for tomcat logo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504043" y="5731748"/>
              <a:ext cx="405728" cy="301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4" descr="Image result for spring boot logo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173086" y="5765999"/>
              <a:ext cx="419100" cy="2333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" descr="Image result for kafka logo"/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411928" y="5730711"/>
              <a:ext cx="629064" cy="3039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4" descr="Image result for micro services logo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645715" y="5715035"/>
              <a:ext cx="724017" cy="341631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8" descr="Image result for spring boot logo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37511" y="5785062"/>
              <a:ext cx="621209" cy="1952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40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26628" y="5715798"/>
              <a:ext cx="397622" cy="333762"/>
            </a:xfrm>
            <a:prstGeom prst="rect">
              <a:avLst/>
            </a:prstGeom>
          </p:spPr>
        </p:pic>
        <p:pic>
          <p:nvPicPr>
            <p:cNvPr id="31" name="Picture 14" descr="Image result for kubernetes logo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55096" y="5769209"/>
              <a:ext cx="926209" cy="2269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0" name="Right Brace 12"/>
          <p:cNvSpPr/>
          <p:nvPr/>
        </p:nvSpPr>
        <p:spPr>
          <a:xfrm>
            <a:off x="10801665" y="3151568"/>
            <a:ext cx="305171" cy="1677227"/>
          </a:xfrm>
          <a:prstGeom prst="rightBrace">
            <a:avLst>
              <a:gd name="adj1" fmla="val 8333"/>
              <a:gd name="adj2" fmla="val 4967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799" b="1"/>
          </a:p>
        </p:txBody>
      </p:sp>
      <p:sp>
        <p:nvSpPr>
          <p:cNvPr id="61" name="TextBox 60"/>
          <p:cNvSpPr txBox="1"/>
          <p:nvPr/>
        </p:nvSpPr>
        <p:spPr>
          <a:xfrm>
            <a:off x="10978885" y="3733712"/>
            <a:ext cx="785972" cy="523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Smart </a:t>
            </a:r>
          </a:p>
          <a:p>
            <a:r>
              <a:rPr lang="en-US" sz="1400" b="1" dirty="0">
                <a:solidFill>
                  <a:schemeClr val="tx2"/>
                </a:solidFill>
              </a:rPr>
              <a:t>SDK </a:t>
            </a:r>
          </a:p>
        </p:txBody>
      </p:sp>
      <p:sp>
        <p:nvSpPr>
          <p:cNvPr id="73" name="Rectangle 90"/>
          <p:cNvSpPr/>
          <p:nvPr/>
        </p:nvSpPr>
        <p:spPr>
          <a:xfrm>
            <a:off x="1087874" y="4485828"/>
            <a:ext cx="3943496" cy="44174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EM publisher (runtime server)</a:t>
            </a:r>
          </a:p>
        </p:txBody>
      </p:sp>
      <p:grpSp>
        <p:nvGrpSpPr>
          <p:cNvPr id="151" name="קבוצה 150"/>
          <p:cNvGrpSpPr/>
          <p:nvPr/>
        </p:nvGrpSpPr>
        <p:grpSpPr>
          <a:xfrm>
            <a:off x="3634059" y="2369850"/>
            <a:ext cx="1259688" cy="417724"/>
            <a:chOff x="3635006" y="1982785"/>
            <a:chExt cx="1260016" cy="417833"/>
          </a:xfrm>
        </p:grpSpPr>
        <p:sp>
          <p:nvSpPr>
            <p:cNvPr id="80" name="TextBox 79"/>
            <p:cNvSpPr txBox="1"/>
            <p:nvPr/>
          </p:nvSpPr>
          <p:spPr>
            <a:xfrm>
              <a:off x="3635006" y="1982785"/>
              <a:ext cx="115623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b="1" dirty="0">
                  <a:solidFill>
                    <a:schemeClr val="tx2"/>
                  </a:solidFill>
                </a:rPr>
                <a:t>AEM component </a:t>
              </a:r>
            </a:p>
          </p:txBody>
        </p:sp>
        <p:grpSp>
          <p:nvGrpSpPr>
            <p:cNvPr id="150" name="קבוצה 149"/>
            <p:cNvGrpSpPr/>
            <p:nvPr/>
          </p:nvGrpSpPr>
          <p:grpSpPr>
            <a:xfrm>
              <a:off x="3680873" y="2018876"/>
              <a:ext cx="1214149" cy="381742"/>
              <a:chOff x="3680873" y="2018876"/>
              <a:chExt cx="1214149" cy="381742"/>
            </a:xfrm>
          </p:grpSpPr>
          <p:sp>
            <p:nvSpPr>
              <p:cNvPr id="79" name="Rectangle 95"/>
              <p:cNvSpPr/>
              <p:nvPr/>
            </p:nvSpPr>
            <p:spPr>
              <a:xfrm>
                <a:off x="4695430" y="2018876"/>
                <a:ext cx="199592" cy="163183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solidFill>
                      <a:schemeClr val="tx1"/>
                    </a:solidFill>
                  </a:rPr>
                  <a:t>C</a:t>
                </a:r>
                <a:endParaRPr lang="en-US" sz="1799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Rectangle 97"/>
              <p:cNvSpPr/>
              <p:nvPr/>
            </p:nvSpPr>
            <p:spPr>
              <a:xfrm>
                <a:off x="4695430" y="2226060"/>
                <a:ext cx="191617" cy="15408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solidFill>
                      <a:schemeClr val="tx1"/>
                    </a:solidFill>
                  </a:rPr>
                  <a:t>W</a:t>
                </a:r>
              </a:p>
            </p:txBody>
          </p:sp>
          <p:sp>
            <p:nvSpPr>
              <p:cNvPr id="82" name="TextBox 81"/>
              <p:cNvSpPr txBox="1"/>
              <p:nvPr/>
            </p:nvSpPr>
            <p:spPr>
              <a:xfrm>
                <a:off x="3680873" y="2169786"/>
                <a:ext cx="1156234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b="1" dirty="0">
                    <a:solidFill>
                      <a:schemeClr val="tx2"/>
                    </a:solidFill>
                  </a:rPr>
                  <a:t>Amdocs widget</a:t>
                </a:r>
              </a:p>
            </p:txBody>
          </p:sp>
        </p:grpSp>
      </p:grpSp>
      <p:grpSp>
        <p:nvGrpSpPr>
          <p:cNvPr id="148" name="קבוצה 147"/>
          <p:cNvGrpSpPr/>
          <p:nvPr/>
        </p:nvGrpSpPr>
        <p:grpSpPr>
          <a:xfrm>
            <a:off x="3152403" y="2890178"/>
            <a:ext cx="1897046" cy="1235927"/>
            <a:chOff x="3153225" y="2451886"/>
            <a:chExt cx="1897540" cy="1236249"/>
          </a:xfrm>
        </p:grpSpPr>
        <p:sp>
          <p:nvSpPr>
            <p:cNvPr id="69" name="Rectangle 4"/>
            <p:cNvSpPr/>
            <p:nvPr/>
          </p:nvSpPr>
          <p:spPr>
            <a:xfrm>
              <a:off x="3153225" y="2451886"/>
              <a:ext cx="1897540" cy="12362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AEM widget pallet </a:t>
              </a:r>
            </a:p>
          </p:txBody>
        </p:sp>
        <p:grpSp>
          <p:nvGrpSpPr>
            <p:cNvPr id="146" name="קבוצה 145"/>
            <p:cNvGrpSpPr/>
            <p:nvPr/>
          </p:nvGrpSpPr>
          <p:grpSpPr>
            <a:xfrm>
              <a:off x="3349869" y="3179242"/>
              <a:ext cx="1487490" cy="230253"/>
              <a:chOff x="3349869" y="3179242"/>
              <a:chExt cx="1487490" cy="230253"/>
            </a:xfrm>
          </p:grpSpPr>
          <p:sp>
            <p:nvSpPr>
              <p:cNvPr id="76" name="Rectangle 92"/>
              <p:cNvSpPr/>
              <p:nvPr/>
            </p:nvSpPr>
            <p:spPr>
              <a:xfrm>
                <a:off x="3953332" y="3179242"/>
                <a:ext cx="280564" cy="23025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99" b="1" dirty="0">
                    <a:solidFill>
                      <a:schemeClr val="tx1"/>
                    </a:solidFill>
                  </a:rPr>
                  <a:t>W</a:t>
                </a:r>
              </a:p>
            </p:txBody>
          </p:sp>
          <p:sp>
            <p:nvSpPr>
              <p:cNvPr id="77" name="Rectangle 93"/>
              <p:cNvSpPr/>
              <p:nvPr/>
            </p:nvSpPr>
            <p:spPr>
              <a:xfrm>
                <a:off x="4556795" y="3179242"/>
                <a:ext cx="280564" cy="23025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99" b="1" dirty="0">
                    <a:solidFill>
                      <a:schemeClr val="tx1"/>
                    </a:solidFill>
                  </a:rPr>
                  <a:t>W</a:t>
                </a:r>
              </a:p>
            </p:txBody>
          </p:sp>
          <p:sp>
            <p:nvSpPr>
              <p:cNvPr id="78" name="Rectangle 94"/>
              <p:cNvSpPr/>
              <p:nvPr/>
            </p:nvSpPr>
            <p:spPr>
              <a:xfrm>
                <a:off x="4255063" y="3179242"/>
                <a:ext cx="280564" cy="23025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99" b="1" dirty="0">
                    <a:solidFill>
                      <a:schemeClr val="tx1"/>
                    </a:solidFill>
                  </a:rPr>
                  <a:t>W</a:t>
                </a:r>
              </a:p>
            </p:txBody>
          </p:sp>
          <p:sp>
            <p:nvSpPr>
              <p:cNvPr id="83" name="Rectangle 100"/>
              <p:cNvSpPr/>
              <p:nvPr/>
            </p:nvSpPr>
            <p:spPr>
              <a:xfrm>
                <a:off x="3651601" y="3179242"/>
                <a:ext cx="280564" cy="23025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99" b="1" dirty="0">
                    <a:solidFill>
                      <a:schemeClr val="tx1"/>
                    </a:solidFill>
                  </a:rPr>
                  <a:t>W</a:t>
                </a:r>
              </a:p>
            </p:txBody>
          </p:sp>
          <p:sp>
            <p:nvSpPr>
              <p:cNvPr id="84" name="Rectangle 101"/>
              <p:cNvSpPr/>
              <p:nvPr/>
            </p:nvSpPr>
            <p:spPr>
              <a:xfrm>
                <a:off x="3349869" y="3179242"/>
                <a:ext cx="280564" cy="23025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99" b="1" dirty="0">
                    <a:solidFill>
                      <a:schemeClr val="tx1"/>
                    </a:solidFill>
                  </a:rPr>
                  <a:t>W</a:t>
                </a:r>
              </a:p>
            </p:txBody>
          </p:sp>
        </p:grpSp>
        <p:grpSp>
          <p:nvGrpSpPr>
            <p:cNvPr id="147" name="קבוצה 146"/>
            <p:cNvGrpSpPr/>
            <p:nvPr/>
          </p:nvGrpSpPr>
          <p:grpSpPr>
            <a:xfrm>
              <a:off x="3225407" y="2832113"/>
              <a:ext cx="1754102" cy="230253"/>
              <a:chOff x="3225407" y="2832113"/>
              <a:chExt cx="1754102" cy="230253"/>
            </a:xfrm>
          </p:grpSpPr>
          <p:sp>
            <p:nvSpPr>
              <p:cNvPr id="75" name="Rectangle 6"/>
              <p:cNvSpPr/>
              <p:nvPr/>
            </p:nvSpPr>
            <p:spPr>
              <a:xfrm>
                <a:off x="3225407" y="2832113"/>
                <a:ext cx="280564" cy="230253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99" b="1" dirty="0">
                    <a:solidFill>
                      <a:schemeClr val="tx1"/>
                    </a:solidFill>
                  </a:rPr>
                  <a:t>C</a:t>
                </a:r>
              </a:p>
            </p:txBody>
          </p:sp>
          <p:sp>
            <p:nvSpPr>
              <p:cNvPr id="85" name="Rectangle 102"/>
              <p:cNvSpPr/>
              <p:nvPr/>
            </p:nvSpPr>
            <p:spPr>
              <a:xfrm>
                <a:off x="3520115" y="2832113"/>
                <a:ext cx="280564" cy="230253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99" b="1" dirty="0">
                    <a:solidFill>
                      <a:schemeClr val="tx1"/>
                    </a:solidFill>
                  </a:rPr>
                  <a:t>C</a:t>
                </a:r>
              </a:p>
            </p:txBody>
          </p:sp>
          <p:sp>
            <p:nvSpPr>
              <p:cNvPr id="86" name="Rectangle 103"/>
              <p:cNvSpPr/>
              <p:nvPr/>
            </p:nvSpPr>
            <p:spPr>
              <a:xfrm>
                <a:off x="3814823" y="2832113"/>
                <a:ext cx="280564" cy="230253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99" b="1" dirty="0">
                    <a:solidFill>
                      <a:schemeClr val="tx1"/>
                    </a:solidFill>
                  </a:rPr>
                  <a:t>C</a:t>
                </a:r>
              </a:p>
            </p:txBody>
          </p:sp>
          <p:sp>
            <p:nvSpPr>
              <p:cNvPr id="87" name="Rectangle 104"/>
              <p:cNvSpPr/>
              <p:nvPr/>
            </p:nvSpPr>
            <p:spPr>
              <a:xfrm>
                <a:off x="4109531" y="2832113"/>
                <a:ext cx="280564" cy="230253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99" b="1" dirty="0">
                    <a:solidFill>
                      <a:schemeClr val="tx1"/>
                    </a:solidFill>
                  </a:rPr>
                  <a:t>C</a:t>
                </a:r>
              </a:p>
            </p:txBody>
          </p:sp>
          <p:sp>
            <p:nvSpPr>
              <p:cNvPr id="88" name="Rectangle 105"/>
              <p:cNvSpPr/>
              <p:nvPr/>
            </p:nvSpPr>
            <p:spPr>
              <a:xfrm>
                <a:off x="4404239" y="2832113"/>
                <a:ext cx="280564" cy="230253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99" b="1" dirty="0">
                    <a:solidFill>
                      <a:schemeClr val="tx1"/>
                    </a:solidFill>
                  </a:rPr>
                  <a:t>C</a:t>
                </a:r>
              </a:p>
            </p:txBody>
          </p:sp>
          <p:sp>
            <p:nvSpPr>
              <p:cNvPr id="89" name="Rectangle 106"/>
              <p:cNvSpPr/>
              <p:nvPr/>
            </p:nvSpPr>
            <p:spPr>
              <a:xfrm>
                <a:off x="4698945" y="2832113"/>
                <a:ext cx="280564" cy="230253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99" b="1" dirty="0">
                    <a:solidFill>
                      <a:schemeClr val="tx1"/>
                    </a:solidFill>
                  </a:rPr>
                  <a:t>C</a:t>
                </a:r>
              </a:p>
            </p:txBody>
          </p:sp>
        </p:grpSp>
      </p:grpSp>
      <p:sp>
        <p:nvSpPr>
          <p:cNvPr id="112" name="Rectangle 36"/>
          <p:cNvSpPr/>
          <p:nvPr/>
        </p:nvSpPr>
        <p:spPr>
          <a:xfrm>
            <a:off x="5706574" y="6081268"/>
            <a:ext cx="1269342" cy="333581"/>
          </a:xfrm>
          <a:prstGeom prst="rect">
            <a:avLst/>
          </a:prstGeom>
          <a:gradFill flip="none" rotWithShape="1">
            <a:gsLst>
              <a:gs pos="82000">
                <a:schemeClr val="accent2"/>
              </a:gs>
              <a:gs pos="23000">
                <a:schemeClr val="accent4">
                  <a:lumMod val="60000"/>
                  <a:lumOff val="40000"/>
                </a:schemeClr>
              </a:gs>
            </a:gsLst>
            <a:lin ang="8100000" scaled="1"/>
            <a:tileRect/>
          </a:gradFill>
          <a:ln w="19050" cap="sq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ustomer profile</a:t>
            </a:r>
          </a:p>
        </p:txBody>
      </p:sp>
      <p:sp>
        <p:nvSpPr>
          <p:cNvPr id="113" name="TextBox 112"/>
          <p:cNvSpPr txBox="1"/>
          <p:nvPr/>
        </p:nvSpPr>
        <p:spPr>
          <a:xfrm rot="16200000">
            <a:off x="5747152" y="-3886340"/>
            <a:ext cx="834608" cy="109414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rIns="0" rtlCol="0">
            <a:noAutofit/>
          </a:bodyPr>
          <a:lstStyle/>
          <a:p>
            <a:pPr algn="ctr"/>
            <a:r>
              <a:rPr lang="en-US" sz="1000" b="1" dirty="0">
                <a:solidFill>
                  <a:srgbClr val="626469"/>
                </a:solidFill>
              </a:rPr>
              <a:t>CHANNEL </a:t>
            </a:r>
            <a:r>
              <a:rPr lang="en-US" sz="1000" b="1" spc="-30" dirty="0">
                <a:solidFill>
                  <a:srgbClr val="626469"/>
                </a:solidFill>
              </a:rPr>
              <a:t>APPLICATION</a:t>
            </a:r>
          </a:p>
        </p:txBody>
      </p:sp>
      <p:sp>
        <p:nvSpPr>
          <p:cNvPr id="114" name="Rectangle 15"/>
          <p:cNvSpPr/>
          <p:nvPr/>
        </p:nvSpPr>
        <p:spPr>
          <a:xfrm>
            <a:off x="1159190" y="1280454"/>
            <a:ext cx="1965907" cy="601189"/>
          </a:xfrm>
          <a:prstGeom prst="rect">
            <a:avLst/>
          </a:prstGeom>
          <a:noFill/>
          <a:ln w="19050" cap="sq" cmpd="sng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 Self service web portal </a:t>
            </a:r>
          </a:p>
        </p:txBody>
      </p:sp>
      <p:sp>
        <p:nvSpPr>
          <p:cNvPr id="115" name="Rectangle 16"/>
          <p:cNvSpPr/>
          <p:nvPr/>
        </p:nvSpPr>
        <p:spPr>
          <a:xfrm>
            <a:off x="5635758" y="1280454"/>
            <a:ext cx="1898796" cy="601189"/>
          </a:xfrm>
          <a:prstGeom prst="rect">
            <a:avLst/>
          </a:prstGeom>
          <a:noFill/>
          <a:ln w="19050" cap="sq" cmpd="sng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 Retail application </a:t>
            </a:r>
          </a:p>
        </p:txBody>
      </p:sp>
      <p:sp>
        <p:nvSpPr>
          <p:cNvPr id="116" name="Rectangle 18"/>
          <p:cNvSpPr/>
          <p:nvPr/>
        </p:nvSpPr>
        <p:spPr>
          <a:xfrm>
            <a:off x="7635664" y="1280452"/>
            <a:ext cx="1941230" cy="601189"/>
          </a:xfrm>
          <a:prstGeom prst="rect">
            <a:avLst/>
          </a:prstGeom>
          <a:noFill/>
          <a:ln w="19050" cap="sq" cmpd="sng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 Call center application  </a:t>
            </a:r>
          </a:p>
        </p:txBody>
      </p:sp>
      <p:sp>
        <p:nvSpPr>
          <p:cNvPr id="117" name="Rectangle 57"/>
          <p:cNvSpPr/>
          <p:nvPr/>
        </p:nvSpPr>
        <p:spPr>
          <a:xfrm>
            <a:off x="3217458" y="1280454"/>
            <a:ext cx="2310248" cy="601189"/>
          </a:xfrm>
          <a:prstGeom prst="rect">
            <a:avLst/>
          </a:prstGeom>
          <a:noFill/>
          <a:ln w="19050" cap="sq" cmpd="sng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 Self Service mobile application </a:t>
            </a:r>
          </a:p>
        </p:txBody>
      </p:sp>
      <p:sp>
        <p:nvSpPr>
          <p:cNvPr id="118" name="Rectangle 58"/>
          <p:cNvSpPr/>
          <p:nvPr/>
        </p:nvSpPr>
        <p:spPr>
          <a:xfrm>
            <a:off x="9669255" y="1289328"/>
            <a:ext cx="1882898" cy="6011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 cap="sq" cmpd="sng">
            <a:solidFill>
              <a:srgbClr val="96969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ny application  </a:t>
            </a:r>
          </a:p>
        </p:txBody>
      </p:sp>
      <p:grpSp>
        <p:nvGrpSpPr>
          <p:cNvPr id="119" name="Group 71"/>
          <p:cNvGrpSpPr/>
          <p:nvPr/>
        </p:nvGrpSpPr>
        <p:grpSpPr>
          <a:xfrm>
            <a:off x="1606599" y="1561422"/>
            <a:ext cx="1203690" cy="275763"/>
            <a:chOff x="3328897" y="3037932"/>
            <a:chExt cx="910829" cy="201017"/>
          </a:xfrm>
        </p:grpSpPr>
        <p:pic>
          <p:nvPicPr>
            <p:cNvPr id="120" name="Picture 2" descr="Image result for react logo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28422" y="3040969"/>
              <a:ext cx="711304" cy="1979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1" name="Picture 4" descr="Image result for facebook react logo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8897" y="3037932"/>
              <a:ext cx="201017" cy="2010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2" name="Group 68"/>
          <p:cNvGrpSpPr/>
          <p:nvPr/>
        </p:nvGrpSpPr>
        <p:grpSpPr>
          <a:xfrm>
            <a:off x="6005998" y="1569712"/>
            <a:ext cx="1203690" cy="275763"/>
            <a:chOff x="3328897" y="3037932"/>
            <a:chExt cx="910829" cy="201017"/>
          </a:xfrm>
        </p:grpSpPr>
        <p:pic>
          <p:nvPicPr>
            <p:cNvPr id="123" name="Picture 2" descr="Image result for react logo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28422" y="3040969"/>
              <a:ext cx="711304" cy="1979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4" name="Picture 4" descr="Image result for facebook react logo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8897" y="3037932"/>
              <a:ext cx="201017" cy="2010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5" name="Group 74"/>
          <p:cNvGrpSpPr/>
          <p:nvPr/>
        </p:nvGrpSpPr>
        <p:grpSpPr>
          <a:xfrm>
            <a:off x="7983727" y="1563500"/>
            <a:ext cx="1203690" cy="275763"/>
            <a:chOff x="3328897" y="3037932"/>
            <a:chExt cx="910829" cy="201017"/>
          </a:xfrm>
        </p:grpSpPr>
        <p:pic>
          <p:nvPicPr>
            <p:cNvPr id="126" name="Picture 2" descr="Image result for react logo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28422" y="3040969"/>
              <a:ext cx="711304" cy="1979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7" name="Picture 4" descr="Image result for facebook react logo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8897" y="3037932"/>
              <a:ext cx="201017" cy="2010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8" name="Group 79"/>
          <p:cNvGrpSpPr/>
          <p:nvPr/>
        </p:nvGrpSpPr>
        <p:grpSpPr>
          <a:xfrm>
            <a:off x="3864268" y="1565582"/>
            <a:ext cx="1203690" cy="275763"/>
            <a:chOff x="3328897" y="3037932"/>
            <a:chExt cx="910829" cy="201017"/>
          </a:xfrm>
        </p:grpSpPr>
        <p:pic>
          <p:nvPicPr>
            <p:cNvPr id="129" name="Picture 2" descr="Image result for react logo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28422" y="3040969"/>
              <a:ext cx="711304" cy="1979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0" name="Picture 4" descr="Image result for facebook react logo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8897" y="3037932"/>
              <a:ext cx="201017" cy="2010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4" name="קבוצה 133"/>
          <p:cNvGrpSpPr/>
          <p:nvPr/>
        </p:nvGrpSpPr>
        <p:grpSpPr>
          <a:xfrm>
            <a:off x="8196780" y="5069723"/>
            <a:ext cx="1321731" cy="533404"/>
            <a:chOff x="5848475" y="5483124"/>
            <a:chExt cx="1293737" cy="263261"/>
          </a:xfrm>
        </p:grpSpPr>
        <p:sp>
          <p:nvSpPr>
            <p:cNvPr id="132" name="Down Arrow 10"/>
            <p:cNvSpPr/>
            <p:nvPr/>
          </p:nvSpPr>
          <p:spPr>
            <a:xfrm>
              <a:off x="5848475" y="5483124"/>
              <a:ext cx="268335" cy="263261"/>
            </a:xfrm>
            <a:prstGeom prst="down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/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6047533" y="5484672"/>
              <a:ext cx="1094679" cy="1518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spc="300" dirty="0">
                  <a:solidFill>
                    <a:schemeClr val="tx2"/>
                  </a:solidFill>
                </a:rPr>
                <a:t>HTTP(S)</a:t>
              </a:r>
            </a:p>
          </p:txBody>
        </p:sp>
      </p:grpSp>
      <p:grpSp>
        <p:nvGrpSpPr>
          <p:cNvPr id="135" name="קבוצה 134"/>
          <p:cNvGrpSpPr/>
          <p:nvPr/>
        </p:nvGrpSpPr>
        <p:grpSpPr>
          <a:xfrm>
            <a:off x="5139064" y="2309112"/>
            <a:ext cx="745834" cy="452962"/>
            <a:chOff x="6041397" y="5487617"/>
            <a:chExt cx="746028" cy="453080"/>
          </a:xfrm>
        </p:grpSpPr>
        <p:sp>
          <p:nvSpPr>
            <p:cNvPr id="136" name="Down Arrow 10"/>
            <p:cNvSpPr/>
            <p:nvPr/>
          </p:nvSpPr>
          <p:spPr>
            <a:xfrm rot="5400000">
              <a:off x="6242471" y="5544125"/>
              <a:ext cx="213992" cy="579152"/>
            </a:xfrm>
            <a:prstGeom prst="down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/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6041397" y="5487617"/>
              <a:ext cx="74602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tx2"/>
                  </a:solidFill>
                </a:rPr>
                <a:t>Import</a:t>
              </a:r>
            </a:p>
          </p:txBody>
        </p:sp>
      </p:grpSp>
      <p:sp>
        <p:nvSpPr>
          <p:cNvPr id="138" name="Down Arrow 10"/>
          <p:cNvSpPr/>
          <p:nvPr/>
        </p:nvSpPr>
        <p:spPr>
          <a:xfrm>
            <a:off x="1985828" y="4214394"/>
            <a:ext cx="230852" cy="226487"/>
          </a:xfrm>
          <a:prstGeom prst="down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grpSp>
        <p:nvGrpSpPr>
          <p:cNvPr id="145" name="קבוצה 144"/>
          <p:cNvGrpSpPr/>
          <p:nvPr/>
        </p:nvGrpSpPr>
        <p:grpSpPr>
          <a:xfrm>
            <a:off x="1094090" y="2884171"/>
            <a:ext cx="1944177" cy="1254488"/>
            <a:chOff x="1065103" y="2739375"/>
            <a:chExt cx="1944683" cy="1254815"/>
          </a:xfrm>
        </p:grpSpPr>
        <p:sp>
          <p:nvSpPr>
            <p:cNvPr id="71" name="Rectangle 82"/>
            <p:cNvSpPr/>
            <p:nvPr/>
          </p:nvSpPr>
          <p:spPr>
            <a:xfrm>
              <a:off x="1065103" y="2739375"/>
              <a:ext cx="1944683" cy="125481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AEM pages</a:t>
              </a:r>
            </a:p>
          </p:txBody>
        </p:sp>
        <p:grpSp>
          <p:nvGrpSpPr>
            <p:cNvPr id="96" name="Group 20"/>
            <p:cNvGrpSpPr/>
            <p:nvPr/>
          </p:nvGrpSpPr>
          <p:grpSpPr>
            <a:xfrm>
              <a:off x="1758165" y="3066511"/>
              <a:ext cx="1181806" cy="347979"/>
              <a:chOff x="1971301" y="2869020"/>
              <a:chExt cx="1181806" cy="426844"/>
            </a:xfrm>
          </p:grpSpPr>
          <p:sp>
            <p:nvSpPr>
              <p:cNvPr id="97" name="Rectangle 116"/>
              <p:cNvSpPr/>
              <p:nvPr/>
            </p:nvSpPr>
            <p:spPr>
              <a:xfrm>
                <a:off x="1971301" y="2869020"/>
                <a:ext cx="1181806" cy="426844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b="1" dirty="0" err="1"/>
              </a:p>
            </p:txBody>
          </p:sp>
          <p:sp>
            <p:nvSpPr>
              <p:cNvPr id="98" name="Rectangle 117"/>
              <p:cNvSpPr/>
              <p:nvPr/>
            </p:nvSpPr>
            <p:spPr>
              <a:xfrm>
                <a:off x="2022001" y="2997756"/>
                <a:ext cx="235240" cy="21119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W</a:t>
                </a:r>
              </a:p>
            </p:txBody>
          </p:sp>
          <p:sp>
            <p:nvSpPr>
              <p:cNvPr id="99" name="Rectangle 118"/>
              <p:cNvSpPr/>
              <p:nvPr/>
            </p:nvSpPr>
            <p:spPr>
              <a:xfrm>
                <a:off x="2306541" y="2996685"/>
                <a:ext cx="235240" cy="21119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W</a:t>
                </a:r>
              </a:p>
            </p:txBody>
          </p:sp>
          <p:sp>
            <p:nvSpPr>
              <p:cNvPr id="100" name="Rectangle 119"/>
              <p:cNvSpPr/>
              <p:nvPr/>
            </p:nvSpPr>
            <p:spPr>
              <a:xfrm>
                <a:off x="2857784" y="2994782"/>
                <a:ext cx="235240" cy="21119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W</a:t>
                </a:r>
              </a:p>
            </p:txBody>
          </p:sp>
          <p:sp>
            <p:nvSpPr>
              <p:cNvPr id="101" name="Rectangle 120"/>
              <p:cNvSpPr/>
              <p:nvPr/>
            </p:nvSpPr>
            <p:spPr>
              <a:xfrm>
                <a:off x="2583708" y="3001672"/>
                <a:ext cx="235240" cy="21119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W</a:t>
                </a:r>
              </a:p>
            </p:txBody>
          </p:sp>
        </p:grpSp>
        <p:grpSp>
          <p:nvGrpSpPr>
            <p:cNvPr id="140" name="קבוצה 139"/>
            <p:cNvGrpSpPr/>
            <p:nvPr/>
          </p:nvGrpSpPr>
          <p:grpSpPr>
            <a:xfrm>
              <a:off x="1752049" y="3488040"/>
              <a:ext cx="880017" cy="342394"/>
              <a:chOff x="1929494" y="3475285"/>
              <a:chExt cx="880017" cy="342394"/>
            </a:xfrm>
          </p:grpSpPr>
          <p:sp>
            <p:nvSpPr>
              <p:cNvPr id="102" name="Rectangle 122"/>
              <p:cNvSpPr/>
              <p:nvPr/>
            </p:nvSpPr>
            <p:spPr>
              <a:xfrm>
                <a:off x="1929494" y="3475285"/>
                <a:ext cx="880017" cy="342394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b="1" dirty="0" err="1"/>
              </a:p>
            </p:txBody>
          </p:sp>
          <p:sp>
            <p:nvSpPr>
              <p:cNvPr id="103" name="Rectangle 124"/>
              <p:cNvSpPr/>
              <p:nvPr/>
            </p:nvSpPr>
            <p:spPr>
              <a:xfrm>
                <a:off x="2001950" y="3560204"/>
                <a:ext cx="199705" cy="182605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C</a:t>
                </a:r>
              </a:p>
            </p:txBody>
          </p:sp>
          <p:sp>
            <p:nvSpPr>
              <p:cNvPr id="104" name="Rectangle 125"/>
              <p:cNvSpPr/>
              <p:nvPr/>
            </p:nvSpPr>
            <p:spPr>
              <a:xfrm>
                <a:off x="2269144" y="3561545"/>
                <a:ext cx="199705" cy="182605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C</a:t>
                </a:r>
              </a:p>
            </p:txBody>
          </p:sp>
          <p:sp>
            <p:nvSpPr>
              <p:cNvPr id="105" name="Rectangle 126"/>
              <p:cNvSpPr/>
              <p:nvPr/>
            </p:nvSpPr>
            <p:spPr>
              <a:xfrm>
                <a:off x="2534476" y="3557341"/>
                <a:ext cx="199705" cy="182605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C</a:t>
                </a:r>
              </a:p>
            </p:txBody>
          </p:sp>
        </p:grpSp>
        <p:grpSp>
          <p:nvGrpSpPr>
            <p:cNvPr id="144" name="קבוצה 143"/>
            <p:cNvGrpSpPr/>
            <p:nvPr/>
          </p:nvGrpSpPr>
          <p:grpSpPr>
            <a:xfrm>
              <a:off x="1133623" y="3062115"/>
              <a:ext cx="554030" cy="765105"/>
              <a:chOff x="1133622" y="2765277"/>
              <a:chExt cx="674769" cy="765105"/>
            </a:xfrm>
          </p:grpSpPr>
          <p:sp>
            <p:nvSpPr>
              <p:cNvPr id="90" name="Rectangle 13"/>
              <p:cNvSpPr/>
              <p:nvPr/>
            </p:nvSpPr>
            <p:spPr>
              <a:xfrm>
                <a:off x="1133622" y="2765277"/>
                <a:ext cx="674769" cy="765105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1100" b="1" dirty="0">
                    <a:solidFill>
                      <a:schemeClr val="tx2"/>
                    </a:solidFill>
                  </a:rPr>
                  <a:t>Page</a:t>
                </a:r>
                <a:endParaRPr lang="en-US" sz="1100" b="1" dirty="0"/>
              </a:p>
            </p:txBody>
          </p:sp>
          <p:sp>
            <p:nvSpPr>
              <p:cNvPr id="92" name="Rectangle 110"/>
              <p:cNvSpPr/>
              <p:nvPr/>
            </p:nvSpPr>
            <p:spPr>
              <a:xfrm>
                <a:off x="1232986" y="3284686"/>
                <a:ext cx="212340" cy="18388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W</a:t>
                </a:r>
              </a:p>
            </p:txBody>
          </p:sp>
          <p:sp>
            <p:nvSpPr>
              <p:cNvPr id="94" name="Rectangle 114"/>
              <p:cNvSpPr/>
              <p:nvPr/>
            </p:nvSpPr>
            <p:spPr>
              <a:xfrm>
                <a:off x="1500491" y="3278184"/>
                <a:ext cx="199705" cy="182605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C</a:t>
                </a:r>
              </a:p>
            </p:txBody>
          </p:sp>
          <p:sp>
            <p:nvSpPr>
              <p:cNvPr id="141" name="Rectangle 110"/>
              <p:cNvSpPr/>
              <p:nvPr/>
            </p:nvSpPr>
            <p:spPr>
              <a:xfrm>
                <a:off x="1491303" y="3044375"/>
                <a:ext cx="212340" cy="18388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W</a:t>
                </a:r>
              </a:p>
            </p:txBody>
          </p:sp>
          <p:sp>
            <p:nvSpPr>
              <p:cNvPr id="142" name="Rectangle 114"/>
              <p:cNvSpPr/>
              <p:nvPr/>
            </p:nvSpPr>
            <p:spPr>
              <a:xfrm>
                <a:off x="1240996" y="3047121"/>
                <a:ext cx="199705" cy="182605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C</a:t>
                </a:r>
              </a:p>
            </p:txBody>
          </p:sp>
        </p:grpSp>
      </p:grpSp>
      <p:sp>
        <p:nvSpPr>
          <p:cNvPr id="143" name="TextBox 142"/>
          <p:cNvSpPr txBox="1"/>
          <p:nvPr/>
        </p:nvSpPr>
        <p:spPr>
          <a:xfrm rot="16200000">
            <a:off x="-967027" y="3531493"/>
            <a:ext cx="2702662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9" dirty="0">
                <a:solidFill>
                  <a:schemeClr val="tx2"/>
                </a:solidFill>
              </a:rPr>
              <a:t>Digital </a:t>
            </a:r>
            <a:r>
              <a:rPr lang="en-US" sz="2399" dirty="0"/>
              <a:t>client </a:t>
            </a:r>
            <a:endParaRPr lang="en-US" sz="2399" dirty="0">
              <a:solidFill>
                <a:schemeClr val="tx2"/>
              </a:solidFill>
            </a:endParaRPr>
          </a:p>
        </p:txBody>
      </p:sp>
      <p:grpSp>
        <p:nvGrpSpPr>
          <p:cNvPr id="159" name="קבוצה 158"/>
          <p:cNvGrpSpPr/>
          <p:nvPr/>
        </p:nvGrpSpPr>
        <p:grpSpPr>
          <a:xfrm>
            <a:off x="5501973" y="2638727"/>
            <a:ext cx="4950480" cy="2274834"/>
            <a:chOff x="5503406" y="2245926"/>
            <a:chExt cx="4951770" cy="2275427"/>
          </a:xfrm>
        </p:grpSpPr>
        <p:sp>
          <p:nvSpPr>
            <p:cNvPr id="7" name="Rectangle 22"/>
            <p:cNvSpPr/>
            <p:nvPr/>
          </p:nvSpPr>
          <p:spPr>
            <a:xfrm>
              <a:off x="6159902" y="2601256"/>
              <a:ext cx="4295273" cy="354020"/>
            </a:xfrm>
            <a:prstGeom prst="rect">
              <a:avLst/>
            </a:prstGeom>
            <a:solidFill>
              <a:schemeClr val="accent2"/>
            </a:solidFill>
            <a:ln w="19050" cap="sq" cmpd="sng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2"/>
                  </a:solidFill>
                </a:rPr>
                <a:t>Actions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52"/>
            <p:cNvSpPr/>
            <p:nvPr/>
          </p:nvSpPr>
          <p:spPr>
            <a:xfrm>
              <a:off x="6159902" y="3023073"/>
              <a:ext cx="4295274" cy="944476"/>
            </a:xfrm>
            <a:prstGeom prst="rect">
              <a:avLst/>
            </a:prstGeom>
            <a:solidFill>
              <a:schemeClr val="accent2"/>
            </a:solidFill>
            <a:ln w="19050" cap="sq" cmpd="sng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2"/>
                  </a:solidFill>
                </a:rPr>
                <a:t>Store</a:t>
              </a:r>
            </a:p>
          </p:txBody>
        </p:sp>
        <p:sp>
          <p:nvSpPr>
            <p:cNvPr id="35" name="Rectangle 9"/>
            <p:cNvSpPr/>
            <p:nvPr/>
          </p:nvSpPr>
          <p:spPr>
            <a:xfrm>
              <a:off x="9173612" y="3376384"/>
              <a:ext cx="1190491" cy="46109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Application sate  </a:t>
              </a:r>
            </a:p>
          </p:txBody>
        </p:sp>
        <p:sp>
          <p:nvSpPr>
            <p:cNvPr id="36" name="Rectangle 59"/>
            <p:cNvSpPr/>
            <p:nvPr/>
          </p:nvSpPr>
          <p:spPr>
            <a:xfrm>
              <a:off x="7778398" y="3399210"/>
              <a:ext cx="1190491" cy="45123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Transient state </a:t>
              </a:r>
            </a:p>
          </p:txBody>
        </p:sp>
        <p:sp>
          <p:nvSpPr>
            <p:cNvPr id="37" name="Rectangle 60"/>
            <p:cNvSpPr/>
            <p:nvPr/>
          </p:nvSpPr>
          <p:spPr>
            <a:xfrm>
              <a:off x="6344457" y="3400833"/>
              <a:ext cx="1190491" cy="445201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UI metadata</a:t>
              </a:r>
            </a:p>
          </p:txBody>
        </p:sp>
        <p:pic>
          <p:nvPicPr>
            <p:cNvPr id="45" name="Picture 2" descr="Image result for redux logo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53485" y="2898282"/>
              <a:ext cx="1322504" cy="5458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" descr="Image result for redux logo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53485" y="2505591"/>
              <a:ext cx="1322504" cy="5458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8" name="Rectangle 83"/>
            <p:cNvSpPr/>
            <p:nvPr/>
          </p:nvSpPr>
          <p:spPr>
            <a:xfrm>
              <a:off x="6159900" y="2245926"/>
              <a:ext cx="4295273" cy="290960"/>
            </a:xfrm>
            <a:prstGeom prst="rect">
              <a:avLst/>
            </a:prstGeom>
            <a:solidFill>
              <a:schemeClr val="accent2"/>
            </a:solidFill>
            <a:ln w="19050" cap="sq" cmpd="sng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2"/>
                  </a:solidFill>
                </a:rPr>
                <a:t>Widget (Default view)</a:t>
              </a:r>
            </a:p>
          </p:txBody>
        </p:sp>
        <p:sp>
          <p:nvSpPr>
            <p:cNvPr id="62" name="Curved Right Arrow 23"/>
            <p:cNvSpPr/>
            <p:nvPr/>
          </p:nvSpPr>
          <p:spPr>
            <a:xfrm>
              <a:off x="5503406" y="2703256"/>
              <a:ext cx="661479" cy="856508"/>
            </a:xfrm>
            <a:prstGeom prst="curvedRightArrow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Curved Right Arrow 86"/>
            <p:cNvSpPr/>
            <p:nvPr/>
          </p:nvSpPr>
          <p:spPr>
            <a:xfrm>
              <a:off x="5712268" y="2706932"/>
              <a:ext cx="442744" cy="1729634"/>
            </a:xfrm>
            <a:prstGeom prst="curvedRightArrow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1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53" name="קבוצה 152"/>
            <p:cNvGrpSpPr/>
            <p:nvPr/>
          </p:nvGrpSpPr>
          <p:grpSpPr>
            <a:xfrm>
              <a:off x="5958141" y="4032027"/>
              <a:ext cx="4497033" cy="489326"/>
              <a:chOff x="5958141" y="4068849"/>
              <a:chExt cx="4497033" cy="489326"/>
            </a:xfrm>
          </p:grpSpPr>
          <p:sp>
            <p:nvSpPr>
              <p:cNvPr id="39" name="Rectangle 63"/>
              <p:cNvSpPr/>
              <p:nvPr/>
            </p:nvSpPr>
            <p:spPr>
              <a:xfrm>
                <a:off x="6159901" y="4072383"/>
                <a:ext cx="4295273" cy="485792"/>
              </a:xfrm>
              <a:prstGeom prst="rect">
                <a:avLst/>
              </a:prstGeom>
              <a:solidFill>
                <a:schemeClr val="accent2"/>
              </a:solidFill>
              <a:ln w="19050" cap="sq" cmpd="sng">
                <a:solidFill>
                  <a:schemeClr val="accent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2"/>
                    </a:solidFill>
                  </a:rPr>
                  <a:t>Rest client kit / Client services </a:t>
                </a:r>
              </a:p>
            </p:txBody>
          </p:sp>
          <p:pic>
            <p:nvPicPr>
              <p:cNvPr id="46" name="Picture 10" descr="Image result for es6 logo"/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982604" y="4113102"/>
                <a:ext cx="360825" cy="397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2" name="Picture 4"/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58141" y="4068849"/>
                <a:ext cx="841351" cy="485389"/>
              </a:xfrm>
              <a:prstGeom prst="rect">
                <a:avLst/>
              </a:prstGeom>
            </p:spPr>
          </p:pic>
        </p:grpSp>
      </p:grpSp>
      <p:sp>
        <p:nvSpPr>
          <p:cNvPr id="139" name="Curved Right Arrow 86"/>
          <p:cNvSpPr/>
          <p:nvPr/>
        </p:nvSpPr>
        <p:spPr>
          <a:xfrm rot="10800000">
            <a:off x="10446249" y="2687778"/>
            <a:ext cx="442629" cy="1542083"/>
          </a:xfrm>
          <a:prstGeom prst="curved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 err="1">
              <a:solidFill>
                <a:schemeClr val="tx1"/>
              </a:solidFill>
            </a:endParaRPr>
          </a:p>
        </p:txBody>
      </p:sp>
      <p:sp>
        <p:nvSpPr>
          <p:cNvPr id="149" name="Curved Right Arrow 86"/>
          <p:cNvSpPr/>
          <p:nvPr/>
        </p:nvSpPr>
        <p:spPr>
          <a:xfrm rot="10800000">
            <a:off x="10454207" y="3147894"/>
            <a:ext cx="456611" cy="1558659"/>
          </a:xfrm>
          <a:prstGeom prst="curved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 err="1">
              <a:solidFill>
                <a:schemeClr val="tx1"/>
              </a:solidFill>
            </a:endParaRPr>
          </a:p>
        </p:txBody>
      </p:sp>
      <p:sp>
        <p:nvSpPr>
          <p:cNvPr id="111" name="Curved Right Arrow 23"/>
          <p:cNvSpPr/>
          <p:nvPr/>
        </p:nvSpPr>
        <p:spPr>
          <a:xfrm>
            <a:off x="5486756" y="2687778"/>
            <a:ext cx="661307" cy="576814"/>
          </a:xfrm>
          <a:prstGeom prst="curved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6033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65682" y="1387936"/>
            <a:ext cx="4374011" cy="1846659"/>
          </a:xfrm>
        </p:spPr>
        <p:txBody>
          <a:bodyPr/>
          <a:lstStyle/>
          <a:p>
            <a:r>
              <a:rPr lang="en-US" sz="4000" dirty="0">
                <a:solidFill>
                  <a:srgbClr val="003A69"/>
                </a:solidFill>
              </a:rPr>
              <a:t>Experience Layer Overview - Technologies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body" idx="1"/>
          </p:nvPr>
        </p:nvSpPr>
        <p:spPr>
          <a:xfrm>
            <a:off x="7265682" y="4026453"/>
            <a:ext cx="4374010" cy="307777"/>
          </a:xfrm>
        </p:spPr>
        <p:txBody>
          <a:bodyPr/>
          <a:lstStyle/>
          <a:p>
            <a:pPr marL="342797" indent="-342797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3A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084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ical Skeleton of UXF, React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25906" y="1351822"/>
            <a:ext cx="9883106" cy="953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99" dirty="0">
                <a:solidFill>
                  <a:schemeClr val="tx2"/>
                </a:solidFill>
              </a:rPr>
              <a:t>React – Javascript framework that manipulates the view layer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78267" y="2933534"/>
            <a:ext cx="4876482" cy="1815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063" indent="-457063">
              <a:buFont typeface="Arial" panose="020B0604020202020204" pitchFamily="34" charset="0"/>
              <a:buChar char="•"/>
            </a:pPr>
            <a:r>
              <a:rPr lang="en-US" sz="2799" dirty="0">
                <a:solidFill>
                  <a:schemeClr val="tx2"/>
                </a:solidFill>
              </a:rPr>
              <a:t>Everything is a self contained component</a:t>
            </a:r>
          </a:p>
          <a:p>
            <a:pPr marL="457063" indent="-457063">
              <a:buFont typeface="Arial" panose="020B0604020202020204" pitchFamily="34" charset="0"/>
              <a:buChar char="•"/>
            </a:pPr>
            <a:r>
              <a:rPr lang="en-US" sz="2799" dirty="0">
                <a:solidFill>
                  <a:schemeClr val="tx2"/>
                </a:solidFill>
              </a:rPr>
              <a:t>Build components not templates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2870" y="2265639"/>
            <a:ext cx="6244554" cy="3484316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078266" y="2322560"/>
            <a:ext cx="9883106" cy="523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99" dirty="0">
                <a:solidFill>
                  <a:schemeClr val="tx2"/>
                </a:solidFill>
              </a:rPr>
              <a:t>React Principles: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9321493">
            <a:off x="7672060" y="2722994"/>
            <a:ext cx="3051237" cy="2628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672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6" grpId="0"/>
      <p:bldP spid="1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Facebook’s React  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925906" y="1351822"/>
            <a:ext cx="9883106" cy="953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99" dirty="0">
                <a:solidFill>
                  <a:schemeClr val="tx2"/>
                </a:solidFill>
              </a:rPr>
              <a:t>React – Javascript framework that manipulates the view layer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78266" y="2322560"/>
            <a:ext cx="9883106" cy="523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99" dirty="0">
                <a:solidFill>
                  <a:schemeClr val="tx2"/>
                </a:solidFill>
              </a:rPr>
              <a:t>React Principals: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222349" y="3103749"/>
            <a:ext cx="5145114" cy="1384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063" indent="-457063">
              <a:buFont typeface="Arial" panose="020B0604020202020204" pitchFamily="34" charset="0"/>
              <a:buChar char="•"/>
            </a:pPr>
            <a:r>
              <a:rPr lang="en-US" sz="2799" dirty="0">
                <a:solidFill>
                  <a:schemeClr val="tx2"/>
                </a:solidFill>
              </a:rPr>
              <a:t>One way binding </a:t>
            </a:r>
          </a:p>
          <a:p>
            <a:pPr marL="457063" indent="-457063">
              <a:buFont typeface="Arial" panose="020B0604020202020204" pitchFamily="34" charset="0"/>
              <a:buChar char="•"/>
            </a:pPr>
            <a:r>
              <a:rPr lang="en-US" sz="2799" dirty="0">
                <a:solidFill>
                  <a:schemeClr val="tx2"/>
                </a:solidFill>
              </a:rPr>
              <a:t>Events flow up, data flows dow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6017" y="1907663"/>
            <a:ext cx="5412192" cy="3863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226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Facebook’s React  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43527" y="1360885"/>
            <a:ext cx="9883106" cy="953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99" dirty="0">
                <a:solidFill>
                  <a:schemeClr val="tx2"/>
                </a:solidFill>
              </a:rPr>
              <a:t>React – Javascript framework that manipulates the view layer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99246" y="2300982"/>
            <a:ext cx="9883106" cy="523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99" dirty="0">
                <a:solidFill>
                  <a:schemeClr val="tx2"/>
                </a:solidFill>
              </a:rPr>
              <a:t>React Principals: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19508" y="3025066"/>
            <a:ext cx="3959489" cy="1384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99" dirty="0">
                <a:solidFill>
                  <a:schemeClr val="tx2"/>
                </a:solidFill>
              </a:rPr>
              <a:t>Virtual DOM – </a:t>
            </a:r>
          </a:p>
          <a:p>
            <a:pPr marL="457063" indent="-457063">
              <a:buFont typeface="Arial" panose="020B0604020202020204" pitchFamily="34" charset="0"/>
              <a:buChar char="•"/>
            </a:pPr>
            <a:r>
              <a:rPr lang="en-US" sz="2799" dirty="0">
                <a:solidFill>
                  <a:schemeClr val="tx2"/>
                </a:solidFill>
              </a:rPr>
              <a:t>Re-render – </a:t>
            </a:r>
          </a:p>
          <a:p>
            <a:pPr lvl="1"/>
            <a:r>
              <a:rPr lang="en-US" sz="2799" dirty="0">
                <a:solidFill>
                  <a:schemeClr val="tx2"/>
                </a:solidFill>
              </a:rPr>
              <a:t>	don’t mutat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25064" y="3003869"/>
            <a:ext cx="7280942" cy="1384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99" dirty="0">
                <a:solidFill>
                  <a:schemeClr val="tx2"/>
                </a:solidFill>
              </a:rPr>
              <a:t>Virtual </a:t>
            </a:r>
            <a:r>
              <a:rPr lang="en-US" sz="2799" dirty="0" err="1">
                <a:solidFill>
                  <a:schemeClr val="tx2"/>
                </a:solidFill>
              </a:rPr>
              <a:t>dom</a:t>
            </a:r>
            <a:r>
              <a:rPr lang="en-US" sz="2799" dirty="0">
                <a:solidFill>
                  <a:schemeClr val="tx2"/>
                </a:solidFill>
              </a:rPr>
              <a:t> is a pure Javascript, in-memory</a:t>
            </a:r>
          </a:p>
          <a:p>
            <a:r>
              <a:rPr lang="en-US" sz="2799" dirty="0">
                <a:solidFill>
                  <a:schemeClr val="tx2"/>
                </a:solidFill>
              </a:rPr>
              <a:t>representation of the DO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589510" y="4415905"/>
            <a:ext cx="7352045" cy="953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99" dirty="0">
                <a:solidFill>
                  <a:schemeClr val="tx2"/>
                </a:solidFill>
              </a:rPr>
              <a:t>render() fires whenever something chang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25064" y="5413097"/>
            <a:ext cx="7280941" cy="523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99" dirty="0">
                <a:solidFill>
                  <a:schemeClr val="tx2"/>
                </a:solidFill>
              </a:rPr>
              <a:t>React modifies the real DOM to match</a:t>
            </a:r>
          </a:p>
        </p:txBody>
      </p:sp>
    </p:spTree>
    <p:extLst>
      <p:ext uri="{BB962C8B-B14F-4D97-AF65-F5344CB8AC3E}">
        <p14:creationId xmlns:p14="http://schemas.microsoft.com/office/powerpoint/2010/main" val="668136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8" grpId="0"/>
      <p:bldP spid="9" grpId="0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-05194 Amdocs XDC Light PPT Templat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SEA 2017 PPT template - light.potx" id="{827274E0-F1EA-4B3A-8413-D364220AEB4B}" vid="{216A5035-E8B5-41AE-863C-4766737EE2DE}"/>
    </a:ext>
  </a:extLst>
</a:theme>
</file>

<file path=ppt/theme/theme10.xml><?xml version="1.0" encoding="utf-8"?>
<a:theme xmlns:a="http://schemas.openxmlformats.org/drawingml/2006/main" name="3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DDD6FE99-F9EF-42C3-90F3-8EA96F246006}" vid="{33A0CABF-F65F-445D-8CB2-CB96EFD6FB8E}"/>
    </a:ext>
  </a:extLst>
</a:theme>
</file>

<file path=ppt/theme/theme11.xml><?xml version="1.0" encoding="utf-8"?>
<a:theme xmlns:a="http://schemas.openxmlformats.org/drawingml/2006/main" name="10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 [Read-Only]" id="{EA80BEA7-FF79-4959-ACB1-748C8BADC648}" vid="{1AD07CBE-77C2-4C77-8564-B85EB0CCAC2D}"/>
    </a:ext>
  </a:extLst>
</a:theme>
</file>

<file path=ppt/theme/theme12.xml><?xml version="1.0" encoding="utf-8"?>
<a:theme xmlns:a="http://schemas.openxmlformats.org/drawingml/2006/main" name="2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DDD6FE99-F9EF-42C3-90F3-8EA96F246006}" vid="{33A0CABF-F65F-445D-8CB2-CB96EFD6FB8E}"/>
    </a:ext>
  </a:extLst>
</a:theme>
</file>

<file path=ppt/theme/theme13.xml><?xml version="1.0" encoding="utf-8"?>
<a:theme xmlns:a="http://schemas.openxmlformats.org/drawingml/2006/main" name="4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DDD6FE99-F9EF-42C3-90F3-8EA96F246006}" vid="{33A0CABF-F65F-445D-8CB2-CB96EFD6FB8E}"/>
    </a:ext>
  </a:extLst>
</a:theme>
</file>

<file path=ppt/theme/theme14.xml><?xml version="1.0" encoding="utf-8"?>
<a:theme xmlns:a="http://schemas.openxmlformats.org/drawingml/2006/main" name="12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 [Read-Only]" id="{EA80BEA7-FF79-4959-ACB1-748C8BADC648}" vid="{1AD07CBE-77C2-4C77-8564-B85EB0CCAC2D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4-05194 Amdocs 2017 Light PPT Template">
  <a:themeElements>
    <a:clrScheme name="Custom 1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DFE1DF"/>
      </a:accent1>
      <a:accent2>
        <a:srgbClr val="A7A8AA"/>
      </a:accent2>
      <a:accent3>
        <a:srgbClr val="FDB515"/>
      </a:accent3>
      <a:accent4>
        <a:srgbClr val="F2665F"/>
      </a:accent4>
      <a:accent5>
        <a:srgbClr val="EC008C"/>
      </a:accent5>
      <a:accent6>
        <a:srgbClr val="302E45"/>
      </a:accent6>
      <a:hlink>
        <a:srgbClr val="041E42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_v16.potx" id="{96DFD55B-A387-4BFC-A158-E7F6673BD4B4}" vid="{A2C13D02-4456-4430-9FF7-1FA98FA3C59B}"/>
    </a:ext>
  </a:extLst>
</a:theme>
</file>

<file path=ppt/theme/theme3.xml><?xml version="1.0" encoding="utf-8"?>
<a:theme xmlns:a="http://schemas.openxmlformats.org/drawingml/2006/main" name="1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DDD6FE99-F9EF-42C3-90F3-8EA96F246006}" vid="{33A0CABF-F65F-445D-8CB2-CB96EFD6FB8E}"/>
    </a:ext>
  </a:extLst>
</a:theme>
</file>

<file path=ppt/theme/theme4.xml><?xml version="1.0" encoding="utf-8"?>
<a:theme xmlns:a="http://schemas.openxmlformats.org/drawingml/2006/main" name="5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710AE28C-0523-4806-B12A-9299CC1253AC}" vid="{09118012-E6BD-4D08-AEC6-8020650606E8}"/>
    </a:ext>
  </a:extLst>
</a:theme>
</file>

<file path=ppt/theme/theme5.xml><?xml version="1.0" encoding="utf-8"?>
<a:theme xmlns:a="http://schemas.openxmlformats.org/drawingml/2006/main" name="7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710AE28C-0523-4806-B12A-9299CC1253AC}" vid="{09118012-E6BD-4D08-AEC6-8020650606E8}"/>
    </a:ext>
  </a:extLst>
</a:theme>
</file>

<file path=ppt/theme/theme6.xml><?xml version="1.0" encoding="utf-8"?>
<a:theme xmlns:a="http://schemas.openxmlformats.org/drawingml/2006/main" name="4-05194 Amdocs 2017 Light PPT Template">
  <a:themeElements>
    <a:clrScheme name="Custom 1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DFE1DF"/>
      </a:accent1>
      <a:accent2>
        <a:srgbClr val="A7A8AA"/>
      </a:accent2>
      <a:accent3>
        <a:srgbClr val="FDB515"/>
      </a:accent3>
      <a:accent4>
        <a:srgbClr val="F2665F"/>
      </a:accent4>
      <a:accent5>
        <a:srgbClr val="EC008C"/>
      </a:accent5>
      <a:accent6>
        <a:srgbClr val="302E45"/>
      </a:accent6>
      <a:hlink>
        <a:srgbClr val="041E42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_v16.potx" id="{96DFD55B-A387-4BFC-A158-E7F6673BD4B4}" vid="{A2C13D02-4456-4430-9FF7-1FA98FA3C59B}"/>
    </a:ext>
  </a:extLst>
</a:theme>
</file>

<file path=ppt/theme/theme7.xml><?xml version="1.0" encoding="utf-8"?>
<a:theme xmlns:a="http://schemas.openxmlformats.org/drawingml/2006/main" name="6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710AE28C-0523-4806-B12A-9299CC1253AC}" vid="{09118012-E6BD-4D08-AEC6-8020650606E8}"/>
    </a:ext>
  </a:extLst>
</a:theme>
</file>

<file path=ppt/theme/theme8.xml><?xml version="1.0" encoding="utf-8"?>
<a:theme xmlns:a="http://schemas.openxmlformats.org/drawingml/2006/main" name="11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710AE28C-0523-4806-B12A-9299CC1253AC}" vid="{09118012-E6BD-4D08-AEC6-8020650606E8}"/>
    </a:ext>
  </a:extLst>
</a:theme>
</file>

<file path=ppt/theme/theme9.xml><?xml version="1.0" encoding="utf-8"?>
<a:theme xmlns:a="http://schemas.openxmlformats.org/drawingml/2006/main" name="8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710AE28C-0523-4806-B12A-9299CC1253AC}" vid="{09118012-E6BD-4D08-AEC6-8020650606E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171</TotalTime>
  <Words>1717</Words>
  <Application>Microsoft Office PowerPoint</Application>
  <PresentationFormat>Custom</PresentationFormat>
  <Paragraphs>417</Paragraphs>
  <Slides>35</Slides>
  <Notes>13</Notes>
  <HiddenSlides>3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55" baseType="lpstr">
      <vt:lpstr>Arial</vt:lpstr>
      <vt:lpstr>Calibri</vt:lpstr>
      <vt:lpstr>Calibri Light</vt:lpstr>
      <vt:lpstr>Century Gothic</vt:lpstr>
      <vt:lpstr>Wingdings</vt:lpstr>
      <vt:lpstr>4-05194 Amdocs XDC Light PPT Template</vt:lpstr>
      <vt:lpstr>3_4-05194 Amdocs 2017 Light PPT Template</vt:lpstr>
      <vt:lpstr>1_4-05194 Amdocs XDC Light PPT Template</vt:lpstr>
      <vt:lpstr>5_4-05194 Amdocs XDC Light PPT Template</vt:lpstr>
      <vt:lpstr>7_4-05194 Amdocs XDC Light PPT Template</vt:lpstr>
      <vt:lpstr>4-05194 Amdocs 2017 Light PPT Template</vt:lpstr>
      <vt:lpstr>6_4-05194 Amdocs XDC Light PPT Template</vt:lpstr>
      <vt:lpstr>11_4-05194 Amdocs XDC Light PPT Template</vt:lpstr>
      <vt:lpstr>8_4-05194 Amdocs XDC Light PPT Template</vt:lpstr>
      <vt:lpstr>3_4-05194 Amdocs XDC Light PPT Template</vt:lpstr>
      <vt:lpstr>10_4-05194 Amdocs XDC Light PPT Template</vt:lpstr>
      <vt:lpstr>2_4-05194 Amdocs XDC Light PPT Template</vt:lpstr>
      <vt:lpstr>4_4-05194 Amdocs XDC Light PPT Template</vt:lpstr>
      <vt:lpstr>12_4-05194 Amdocs XDC Light PPT Template</vt:lpstr>
      <vt:lpstr>think-cell Slide</vt:lpstr>
      <vt:lpstr>PowerPoint Presentation</vt:lpstr>
      <vt:lpstr>Agenda</vt:lpstr>
      <vt:lpstr>PowerPoint Presentation</vt:lpstr>
      <vt:lpstr>Digital Experience Layer From Functional Capabilities to User Experience </vt:lpstr>
      <vt:lpstr>Digital Platform – client side architecture (UXF 1.5)</vt:lpstr>
      <vt:lpstr>Experience Layer Overview - Technologies</vt:lpstr>
      <vt:lpstr>Technological Skeleton of UXF, React</vt:lpstr>
      <vt:lpstr>Facebook’s React  </vt:lpstr>
      <vt:lpstr>Facebook’s React  </vt:lpstr>
      <vt:lpstr>Technological Skeleton of UXF, Redux</vt:lpstr>
      <vt:lpstr>Additional technologies </vt:lpstr>
      <vt:lpstr>SDK modules</vt:lpstr>
      <vt:lpstr>SDK modules</vt:lpstr>
      <vt:lpstr>SDK modules – CustomerProfile module example</vt:lpstr>
      <vt:lpstr>COP flow design example</vt:lpstr>
      <vt:lpstr>Digital Experience – Client Architecture</vt:lpstr>
      <vt:lpstr>Widget consumption using Javascript</vt:lpstr>
      <vt:lpstr>SDK consumption</vt:lpstr>
      <vt:lpstr>SDK consumption</vt:lpstr>
      <vt:lpstr>Experience layer server side components</vt:lpstr>
      <vt:lpstr>Service components Overview </vt:lpstr>
      <vt:lpstr>Digital stack and CES</vt:lpstr>
      <vt:lpstr>Digital stack and CES</vt:lpstr>
      <vt:lpstr>Widgets Overview</vt:lpstr>
      <vt:lpstr>Multi Touch point, Multi channel</vt:lpstr>
      <vt:lpstr> Digital Experience Layer -  Create Once Deploy Many Across Channels &amp; Touch Points</vt:lpstr>
      <vt:lpstr>Experience Layer –  Adobe Experience Manager</vt:lpstr>
      <vt:lpstr>Hosting a widget</vt:lpstr>
      <vt:lpstr>Standalone widget demo page</vt:lpstr>
      <vt:lpstr>Widget Configuration</vt:lpstr>
      <vt:lpstr>Widget Language</vt:lpstr>
      <vt:lpstr>Widget L&amp;F and Style (CSS)</vt:lpstr>
      <vt:lpstr>Widget Placement </vt:lpstr>
      <vt:lpstr>Q &amp; A</vt:lpstr>
      <vt:lpstr>PowerPoint Presentation</vt:lpstr>
    </vt:vector>
  </TitlesOfParts>
  <Company>Amdoc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 Arial Bold 32pt</dc:title>
  <dc:creator>Mukund Nambirajan</dc:creator>
  <cp:lastModifiedBy>Santosh Manapragada</cp:lastModifiedBy>
  <cp:revision>1414</cp:revision>
  <cp:lastPrinted>2011-09-21T12:59:46Z</cp:lastPrinted>
  <dcterms:created xsi:type="dcterms:W3CDTF">2016-07-22T05:56:02Z</dcterms:created>
  <dcterms:modified xsi:type="dcterms:W3CDTF">2019-07-03T02:5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pdated">
    <vt:bool>true</vt:bool>
  </property>
  <property fmtid="{D5CDD505-2E9C-101B-9397-08002B2CF9AE}" pid="3" name="SecurityLevel">
    <vt:lpwstr>Level 1 – Confidential</vt:lpwstr>
  </property>
</Properties>
</file>